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86" r:id="rId1"/>
  </p:sldMasterIdLst>
  <p:handoutMasterIdLst>
    <p:handoutMasterId r:id="rId11"/>
  </p:handoutMasterIdLst>
  <p:sldIdLst>
    <p:sldId id="271" r:id="rId2"/>
    <p:sldId id="259" r:id="rId3"/>
    <p:sldId id="269" r:id="rId4"/>
    <p:sldId id="260" r:id="rId5"/>
    <p:sldId id="261" r:id="rId6"/>
    <p:sldId id="264" r:id="rId7"/>
    <p:sldId id="265" r:id="rId8"/>
    <p:sldId id="263" r:id="rId9"/>
    <p:sldId id="268" r:id="rId10"/>
  </p:sldIdLst>
  <p:sldSz cx="12192000" cy="6858000"/>
  <p:notesSz cx="6858000" cy="9144000"/>
  <p:embeddedFontLst>
    <p:embeddedFont>
      <p:font typeface="Raleway" pitchFamily="2" charset="-18"/>
      <p:regular r:id="rId12"/>
      <p:bold r:id="rId13"/>
      <p:italic r:id="rId14"/>
      <p:boldItalic r:id="rId15"/>
    </p:embeddedFont>
    <p:embeddedFont>
      <p:font typeface="Ubuntu" panose="020B0504030602030204" pitchFamily="34" charset="0"/>
      <p:regular r:id="rId16"/>
      <p:bold r:id="rId17"/>
      <p:italic r:id="rId18"/>
      <p:boldItalic r:id="rId19"/>
    </p:embeddedFont>
    <p:embeddedFont>
      <p:font typeface="Ubuntu Light" panose="020B0304030602030204" pitchFamily="34" charset="0"/>
      <p:regular r:id="rId20"/>
      <p:italic r:id="rId2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 HERE" id="{A9EEE637-799A-4969-9989-9EF39809757D}">
          <p14:sldIdLst>
            <p14:sldId id="271"/>
          </p14:sldIdLst>
        </p14:section>
        <p14:section name="PROJECT - Ready" id="{9B9F1562-EDF3-4818-B302-500CB3CCEB9F}">
          <p14:sldIdLst>
            <p14:sldId id="259"/>
            <p14:sldId id="269"/>
            <p14:sldId id="260"/>
            <p14:sldId id="261"/>
            <p14:sldId id="264"/>
            <p14:sldId id="265"/>
            <p14:sldId id="263"/>
          </p14:sldIdLst>
        </p14:section>
        <p14:section name="ASSETS" id="{E14FA213-F034-486F-8823-F87750997EAF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FDF8"/>
    <a:srgbClr val="F0F0F0"/>
    <a:srgbClr val="363062"/>
    <a:srgbClr val="4D4C7D"/>
    <a:srgbClr val="F99417"/>
    <a:srgbClr val="FF3333"/>
    <a:srgbClr val="FAEF5D"/>
    <a:srgbClr val="1D2B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78" autoAdjust="0"/>
    <p:restoredTop sz="96673" autoAdjust="0"/>
  </p:normalViewPr>
  <p:slideViewPr>
    <p:cSldViewPr snapToGrid="0">
      <p:cViewPr>
        <p:scale>
          <a:sx n="66" d="100"/>
          <a:sy n="66" d="100"/>
        </p:scale>
        <p:origin x="3019" y="11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2438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customXml" Target="../customXml/item1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9CA3045-F6E8-334F-3F57-CDFC895A52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E07731-75E0-D95E-A459-4B3E12C153D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E83C94-87C1-4B47-878A-703C19243A4E}" type="datetimeFigureOut">
              <a:rPr lang="en-US" smtClean="0"/>
              <a:t>2/1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530BA9-1D85-0BF1-0EFC-5154F499DC2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A242C5-32F2-8252-CF16-95E3F2E61A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F42367-7272-4766-B342-489E89388E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1421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F1FBB-0526-3637-021E-BDC653370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58B05D-18C6-836E-909C-BBF987905F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B4BF25-6772-8AEB-C02B-8EA0254DB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2BD50C-479D-C740-7D03-63E463723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4836B6-6DC8-2BB8-F6C4-41BCB3FDC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767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970A5-6D53-50E7-93C8-11407E779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B542D0-40F0-4642-A1FE-5FE8AAB13E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F1B37A-905D-A0ED-BCB8-FD8C19050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8CEE3F-2746-3370-DC15-D3F6B46A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31F5D0-8A5F-3753-C2C2-F65B8A3B0C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9E88F9-7FE2-239B-C4FE-84C1D6B66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66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66493-FA6A-F70C-9756-2EF0909F0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89FB15-A81C-BAC1-E1A2-D2E44D72D7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8D9F75-5ECD-860A-F822-27A393F18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442347-D2E4-26D6-7AD4-566931400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893423-71CB-F84F-7968-02CC17152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3236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CEBA193-DEE8-8706-CDA2-96DD9F956B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92DE8E-8AEA-6F68-20D7-4539E8A86A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96FCD-1483-CFFF-6DF0-713787215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4CD6D-B1A2-ACA9-93CA-60285958B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62D25B-25AC-AC14-8624-7B78BB1AD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336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tted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G Dots">
            <a:extLst>
              <a:ext uri="{FF2B5EF4-FFF2-40B4-BE49-F238E27FC236}">
                <a16:creationId xmlns:a16="http://schemas.microsoft.com/office/drawing/2014/main" id="{A61B3DBD-20D6-BAC8-FC3F-12A8244D80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66" y="-2586935"/>
            <a:ext cx="12176331" cy="5896850"/>
          </a:xfrm>
          <a:prstGeom prst="rect">
            <a:avLst/>
          </a:prstGeom>
        </p:spPr>
      </p:pic>
      <p:sp>
        <p:nvSpPr>
          <p:cNvPr id="37" name="BG Gradient">
            <a:extLst>
              <a:ext uri="{FF2B5EF4-FFF2-40B4-BE49-F238E27FC236}">
                <a16:creationId xmlns:a16="http://schemas.microsoft.com/office/drawing/2014/main" id="{566B2783-B754-1B01-DD3C-E14C1D2E4CB7}"/>
              </a:ext>
            </a:extLst>
          </p:cNvPr>
          <p:cNvSpPr/>
          <p:nvPr/>
        </p:nvSpPr>
        <p:spPr>
          <a:xfrm>
            <a:off x="0" y="-1809036"/>
            <a:ext cx="12176331" cy="5238035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77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BG Dots">
            <a:extLst>
              <a:ext uri="{FF2B5EF4-FFF2-40B4-BE49-F238E27FC236}">
                <a16:creationId xmlns:a16="http://schemas.microsoft.com/office/drawing/2014/main" id="{4E781AD0-FEDC-A551-1ECB-08CD1EC416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66" y="-2586935"/>
            <a:ext cx="12176331" cy="5896850"/>
          </a:xfrm>
          <a:prstGeom prst="rect">
            <a:avLst/>
          </a:prstGeom>
        </p:spPr>
      </p:pic>
      <p:sp>
        <p:nvSpPr>
          <p:cNvPr id="3" name="BG Gradient">
            <a:extLst>
              <a:ext uri="{FF2B5EF4-FFF2-40B4-BE49-F238E27FC236}">
                <a16:creationId xmlns:a16="http://schemas.microsoft.com/office/drawing/2014/main" id="{C583657F-BBBB-4C9D-3CFC-6BD79297AB23}"/>
              </a:ext>
            </a:extLst>
          </p:cNvPr>
          <p:cNvSpPr/>
          <p:nvPr userDrawn="1"/>
        </p:nvSpPr>
        <p:spPr>
          <a:xfrm>
            <a:off x="0" y="-1809036"/>
            <a:ext cx="12176331" cy="5238035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77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855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9F457-4F0E-399C-0941-B464E6F45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CC863-55CC-36B8-B9EF-6175DEAC92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C69E0C-88A7-6D5F-D378-269CEFB92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E48274-008D-3CD0-0F97-39B02AFC1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E38E3E-EEDC-D7F9-F6B7-040BA7F72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7375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C7BA1-BFC4-71E8-E002-1833626E5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6F2B8B-C81F-7F9D-B26F-8E4DD32B78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6A73B2-29E0-CCBA-0649-842F27551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6DED7D-456C-D668-8CD3-ACD187ED3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D10EB2-E8ED-F610-F2DA-C52AF1A48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192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3AE7E-E5B4-142B-D7B8-65F388CA0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9B002-3A82-EC6B-795E-8A1BD5F5A5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65194D-E2F9-DDE3-9F99-0F1BD501F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76494A-F194-610E-BA8A-A1248F50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DAA60C-9D92-6768-3F5D-F9C296FE2A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7994A1-DD8A-83CC-DB4F-68A75ECE2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448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9417D-4AE0-D493-F8CF-82CE1CC49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E7BBBA-A0A3-05F1-CBBB-7442F3AF7E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1FD5C9-75CA-41A3-8C8A-641AB43400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97D2D2-252A-CB63-05D3-B6E43C4272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6F2D64-FC5D-1E5C-F71F-124984FB5FA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D456B5-A3A1-8953-9B3A-AECA3F25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3FF872-94EB-647A-C097-A2132222B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B4508B-5ADB-0635-CD38-FF88058A8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950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F6B6D-DC8A-C7DD-E1A4-290C34697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9297A-B4C8-625D-2DAE-B666D80E3F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4E2DA7-2A7F-9633-1E9F-C7F616E65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5F2A58-CEEF-9F98-815F-5D687D64F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635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55AAE9-4672-84FB-F7D3-B26A3AB0E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624781-A8F8-9A53-3FEC-F4080ACA9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F52064-24A8-E710-4B2D-914D7DB74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014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ED0BE-5C2B-70F2-8D1C-C6FA19827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302F28-DED4-F95D-63C5-31992081C8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C60329-E6BF-F919-D28E-1A5121B572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A8C5B5-22AF-806D-D1FC-0C337A41C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28BDFD-35AC-8327-C72F-4BA13CAAD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570341-95F1-384E-4C3D-5D1B28A22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99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DF2D61-CB02-B7E2-6BCC-6FA68CBE9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AB8743-C2AC-4823-E944-4117D9636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CADDE4-3E60-1A6B-D4EE-793B52760D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85C9BC-4CB1-4C9C-A14E-99BF54E5C9EC}" type="datetimeFigureOut">
              <a:rPr lang="en-US" smtClean="0"/>
              <a:t>2/16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0C2017-8A2D-4E4C-18F2-7A811D7013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9F9AE-CC87-E257-E84D-19795AADF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CC931F-D46A-4481-8ABC-D27076E6B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423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548A6DC1-B1E4-9AF2-A4FD-A7487E22F1F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561089080"/>
                  </p:ext>
                </p:extLst>
              </p:nvPr>
            </p:nvGraphicFramePr>
            <p:xfrm>
              <a:off x="-4954462" y="0"/>
              <a:ext cx="4753336" cy="2673752"/>
            </p:xfrm>
            <a:graphic>
              <a:graphicData uri="http://schemas.microsoft.com/office/powerpoint/2016/slidezoom">
                <pslz:sldZm>
                  <pslz:sldZmObj sldId="264" cId="2478272692">
                    <pslz:zmPr id="{AE115A83-4F59-4837-A3B7-48CBE2852451}" returnToParent="0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753336" cy="267375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8" name="Slide Zoom 7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548A6DC1-B1E4-9AF2-A4FD-A7487E22F1F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-4954462" y="0"/>
                <a:ext cx="4753336" cy="267375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29817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2F5FC7-39D3-5985-4972-3AF0D2B7E83E}"/>
              </a:ext>
            </a:extLst>
          </p:cNvPr>
          <p:cNvSpPr/>
          <p:nvPr/>
        </p:nvSpPr>
        <p:spPr>
          <a:xfrm>
            <a:off x="0" y="0"/>
            <a:ext cx="5802922" cy="6858000"/>
          </a:xfrm>
          <a:prstGeom prst="rect">
            <a:avLst/>
          </a:prstGeom>
          <a:solidFill>
            <a:srgbClr val="FDF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CAA0A8-DD6E-C542-7A01-180B73907CFE}"/>
              </a:ext>
            </a:extLst>
          </p:cNvPr>
          <p:cNvSpPr/>
          <p:nvPr/>
        </p:nvSpPr>
        <p:spPr>
          <a:xfrm>
            <a:off x="5802923" y="0"/>
            <a:ext cx="6389078" cy="6858000"/>
          </a:xfrm>
          <a:prstGeom prst="rect">
            <a:avLst/>
          </a:prstGeom>
          <a:solidFill>
            <a:srgbClr val="FDF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FD5B9B-CB9F-89D8-919F-6FFF95271D83}"/>
              </a:ext>
            </a:extLst>
          </p:cNvPr>
          <p:cNvCxnSpPr/>
          <p:nvPr/>
        </p:nvCxnSpPr>
        <p:spPr>
          <a:xfrm>
            <a:off x="5802923" y="-6858000"/>
            <a:ext cx="0" cy="6858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56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2F5FC7-39D3-5985-4972-3AF0D2B7E83E}"/>
              </a:ext>
            </a:extLst>
          </p:cNvPr>
          <p:cNvSpPr/>
          <p:nvPr/>
        </p:nvSpPr>
        <p:spPr>
          <a:xfrm>
            <a:off x="0" y="0"/>
            <a:ext cx="5802922" cy="6858000"/>
          </a:xfrm>
          <a:prstGeom prst="rect">
            <a:avLst/>
          </a:prstGeom>
          <a:solidFill>
            <a:srgbClr val="FDF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CAA0A8-DD6E-C542-7A01-180B73907CFE}"/>
              </a:ext>
            </a:extLst>
          </p:cNvPr>
          <p:cNvSpPr/>
          <p:nvPr/>
        </p:nvSpPr>
        <p:spPr>
          <a:xfrm>
            <a:off x="5802923" y="0"/>
            <a:ext cx="6389078" cy="6858000"/>
          </a:xfrm>
          <a:prstGeom prst="rect">
            <a:avLst/>
          </a:prstGeom>
          <a:solidFill>
            <a:srgbClr val="FDF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FD5B9B-CB9F-89D8-919F-6FFF95271D83}"/>
              </a:ext>
            </a:extLst>
          </p:cNvPr>
          <p:cNvCxnSpPr>
            <a:cxnSpLocks/>
          </p:cNvCxnSpPr>
          <p:nvPr/>
        </p:nvCxnSpPr>
        <p:spPr>
          <a:xfrm>
            <a:off x="5802922" y="0"/>
            <a:ext cx="1" cy="6858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52690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0">
        <p159:morph option="byObject"/>
      </p:transition>
    </mc:Choice>
    <mc:Fallback xmlns="">
      <p:transition spd="slow" advClick="0" advTm="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D2F5FC7-39D3-5985-4972-3AF0D2B7E83E}"/>
              </a:ext>
            </a:extLst>
          </p:cNvPr>
          <p:cNvSpPr/>
          <p:nvPr/>
        </p:nvSpPr>
        <p:spPr>
          <a:xfrm>
            <a:off x="-6389076" y="0"/>
            <a:ext cx="5802922" cy="6858000"/>
          </a:xfrm>
          <a:prstGeom prst="rect">
            <a:avLst/>
          </a:prstGeom>
          <a:solidFill>
            <a:srgbClr val="FDFD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CAA0A8-DD6E-C542-7A01-180B73907CFE}"/>
              </a:ext>
            </a:extLst>
          </p:cNvPr>
          <p:cNvSpPr/>
          <p:nvPr/>
        </p:nvSpPr>
        <p:spPr>
          <a:xfrm>
            <a:off x="12740640" y="0"/>
            <a:ext cx="6389078" cy="6858000"/>
          </a:xfrm>
          <a:prstGeom prst="rect">
            <a:avLst/>
          </a:prstGeom>
          <a:solidFill>
            <a:srgbClr val="FDFD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FD5B9B-CB9F-89D8-919F-6FFF95271D83}"/>
              </a:ext>
            </a:extLst>
          </p:cNvPr>
          <p:cNvCxnSpPr/>
          <p:nvPr/>
        </p:nvCxnSpPr>
        <p:spPr>
          <a:xfrm>
            <a:off x="5802923" y="0"/>
            <a:ext cx="0" cy="6858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4178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0">
        <p159:morph option="byObject"/>
      </p:transition>
    </mc:Choice>
    <mc:Fallback xmlns="">
      <p:transition spd="slow" advClick="0" advTm="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E">
            <a:extLst>
              <a:ext uri="{FF2B5EF4-FFF2-40B4-BE49-F238E27FC236}">
                <a16:creationId xmlns:a16="http://schemas.microsoft.com/office/drawing/2014/main" id="{54651D47-3C25-AEDE-26A8-A4231A13AC3A}"/>
              </a:ext>
            </a:extLst>
          </p:cNvPr>
          <p:cNvCxnSpPr/>
          <p:nvPr/>
        </p:nvCxnSpPr>
        <p:spPr>
          <a:xfrm>
            <a:off x="9780563" y="0"/>
            <a:ext cx="0" cy="6858000"/>
          </a:xfrm>
          <a:prstGeom prst="line">
            <a:avLst/>
          </a:prstGeom>
          <a:ln w="38100">
            <a:solidFill>
              <a:srgbClr val="FDFD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LINE R">
            <a:extLst>
              <a:ext uri="{FF2B5EF4-FFF2-40B4-BE49-F238E27FC236}">
                <a16:creationId xmlns:a16="http://schemas.microsoft.com/office/drawing/2014/main" id="{79A7EBD1-C654-E9A3-C0DA-00940BA3AF24}"/>
              </a:ext>
            </a:extLst>
          </p:cNvPr>
          <p:cNvSpPr/>
          <p:nvPr/>
        </p:nvSpPr>
        <p:spPr>
          <a:xfrm>
            <a:off x="9729111" y="0"/>
            <a:ext cx="1540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3" name="// Sub">
            <a:extLst>
              <a:ext uri="{FF2B5EF4-FFF2-40B4-BE49-F238E27FC236}">
                <a16:creationId xmlns:a16="http://schemas.microsoft.com/office/drawing/2014/main" id="{A6BC3D88-B245-EC16-B792-66A8B7DF1032}"/>
              </a:ext>
            </a:extLst>
          </p:cNvPr>
          <p:cNvSpPr txBox="1"/>
          <p:nvPr/>
        </p:nvSpPr>
        <p:spPr>
          <a:xfrm>
            <a:off x="1810333" y="2646717"/>
            <a:ext cx="3776996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6000" b="1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rter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6000" b="1" dirty="0">
                <a:solidFill>
                  <a:srgbClr val="B08FE1"/>
                </a:solidFill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// T1">
            <a:extLst>
              <a:ext uri="{FF2B5EF4-FFF2-40B4-BE49-F238E27FC236}">
                <a16:creationId xmlns:a16="http://schemas.microsoft.com/office/drawing/2014/main" id="{46A389AA-4B19-C69D-6BAF-24784E179008}"/>
              </a:ext>
            </a:extLst>
          </p:cNvPr>
          <p:cNvSpPr txBox="1"/>
          <p:nvPr/>
        </p:nvSpPr>
        <p:spPr>
          <a:xfrm>
            <a:off x="1876050" y="2070180"/>
            <a:ext cx="37625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e ovrerview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8" name="-- Logo">
            <a:extLst>
              <a:ext uri="{FF2B5EF4-FFF2-40B4-BE49-F238E27FC236}">
                <a16:creationId xmlns:a16="http://schemas.microsoft.com/office/drawing/2014/main" id="{EFF0E048-DF31-F0B3-E09A-D283E3BA6C99}"/>
              </a:ext>
            </a:extLst>
          </p:cNvPr>
          <p:cNvGrpSpPr/>
          <p:nvPr/>
        </p:nvGrpSpPr>
        <p:grpSpPr>
          <a:xfrm>
            <a:off x="1299591" y="5823350"/>
            <a:ext cx="2018535" cy="523220"/>
            <a:chOff x="1037784" y="5790455"/>
            <a:chExt cx="2274168" cy="58948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A4F546A-F072-A9F3-946A-21D44491577A}"/>
                </a:ext>
              </a:extLst>
            </p:cNvPr>
            <p:cNvGrpSpPr/>
            <p:nvPr/>
          </p:nvGrpSpPr>
          <p:grpSpPr>
            <a:xfrm>
              <a:off x="1037784" y="5897948"/>
              <a:ext cx="384186" cy="417890"/>
              <a:chOff x="485694" y="5936930"/>
              <a:chExt cx="3025901" cy="3291364"/>
            </a:xfrm>
            <a:solidFill>
              <a:schemeClr val="bg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3F44A36-39FE-7CD8-2E17-4A6B64E28093}"/>
                  </a:ext>
                </a:extLst>
              </p:cNvPr>
              <p:cNvSpPr/>
              <p:nvPr/>
            </p:nvSpPr>
            <p:spPr>
              <a:xfrm>
                <a:off x="490170" y="5936930"/>
                <a:ext cx="2409920" cy="1064847"/>
              </a:xfrm>
              <a:custGeom>
                <a:avLst/>
                <a:gdLst>
                  <a:gd name="connsiteX0" fmla="*/ 265367 w 2409920"/>
                  <a:gd name="connsiteY0" fmla="*/ 993696 h 1064847"/>
                  <a:gd name="connsiteX1" fmla="*/ 290608 w 2409920"/>
                  <a:gd name="connsiteY1" fmla="*/ 942546 h 1064847"/>
                  <a:gd name="connsiteX2" fmla="*/ 429578 w 2409920"/>
                  <a:gd name="connsiteY2" fmla="*/ 797957 h 1064847"/>
                  <a:gd name="connsiteX3" fmla="*/ 1313783 w 2409920"/>
                  <a:gd name="connsiteY3" fmla="*/ 287512 h 1064847"/>
                  <a:gd name="connsiteX4" fmla="*/ 1703260 w 2409920"/>
                  <a:gd name="connsiteY4" fmla="*/ 287512 h 1064847"/>
                  <a:gd name="connsiteX5" fmla="*/ 2082927 w 2409920"/>
                  <a:gd name="connsiteY5" fmla="*/ 506682 h 1064847"/>
                  <a:gd name="connsiteX6" fmla="*/ 2409920 w 2409920"/>
                  <a:gd name="connsiteY6" fmla="*/ 419052 h 1064847"/>
                  <a:gd name="connsiteX7" fmla="*/ 1822990 w 2409920"/>
                  <a:gd name="connsiteY7" fmla="*/ 80153 h 1064847"/>
                  <a:gd name="connsiteX8" fmla="*/ 1194245 w 2409920"/>
                  <a:gd name="connsiteY8" fmla="*/ 80153 h 1064847"/>
                  <a:gd name="connsiteX9" fmla="*/ 309943 w 2409920"/>
                  <a:gd name="connsiteY9" fmla="*/ 590693 h 1064847"/>
                  <a:gd name="connsiteX10" fmla="*/ 83344 w 2409920"/>
                  <a:gd name="connsiteY10" fmla="*/ 822912 h 1064847"/>
                  <a:gd name="connsiteX11" fmla="*/ 0 w 2409920"/>
                  <a:gd name="connsiteY11" fmla="*/ 1064847 h 1064847"/>
                  <a:gd name="connsiteX12" fmla="*/ 265367 w 2409920"/>
                  <a:gd name="connsiteY12" fmla="*/ 993791 h 1064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09920" h="1064847">
                    <a:moveTo>
                      <a:pt x="265367" y="993696"/>
                    </a:moveTo>
                    <a:cubicBezTo>
                      <a:pt x="273463" y="974360"/>
                      <a:pt x="282321" y="957024"/>
                      <a:pt x="290608" y="942546"/>
                    </a:cubicBezTo>
                    <a:cubicBezTo>
                      <a:pt x="316040" y="898541"/>
                      <a:pt x="360807" y="837676"/>
                      <a:pt x="429578" y="797957"/>
                    </a:cubicBezTo>
                    <a:lnTo>
                      <a:pt x="1313783" y="287512"/>
                    </a:lnTo>
                    <a:cubicBezTo>
                      <a:pt x="1424845" y="223409"/>
                      <a:pt x="1592199" y="223409"/>
                      <a:pt x="1703260" y="287512"/>
                    </a:cubicBezTo>
                    <a:lnTo>
                      <a:pt x="2082927" y="506682"/>
                    </a:lnTo>
                    <a:lnTo>
                      <a:pt x="2409920" y="419052"/>
                    </a:lnTo>
                    <a:lnTo>
                      <a:pt x="1822990" y="80153"/>
                    </a:lnTo>
                    <a:cubicBezTo>
                      <a:pt x="1637919" y="-26718"/>
                      <a:pt x="1379315" y="-26718"/>
                      <a:pt x="1194245" y="80153"/>
                    </a:cubicBezTo>
                    <a:lnTo>
                      <a:pt x="309943" y="590693"/>
                    </a:lnTo>
                    <a:cubicBezTo>
                      <a:pt x="195263" y="656987"/>
                      <a:pt x="123444" y="753475"/>
                      <a:pt x="83344" y="822912"/>
                    </a:cubicBezTo>
                    <a:cubicBezTo>
                      <a:pt x="50578" y="879586"/>
                      <a:pt x="12763" y="963692"/>
                      <a:pt x="0" y="1064847"/>
                    </a:cubicBezTo>
                    <a:lnTo>
                      <a:pt x="265367" y="9937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41BC7C4-24F1-8726-FA22-7A76606FDDE7}"/>
                  </a:ext>
                </a:extLst>
              </p:cNvPr>
              <p:cNvSpPr/>
              <p:nvPr/>
            </p:nvSpPr>
            <p:spPr>
              <a:xfrm>
                <a:off x="485694" y="7173037"/>
                <a:ext cx="3025901" cy="1266824"/>
              </a:xfrm>
              <a:custGeom>
                <a:avLst/>
                <a:gdLst>
                  <a:gd name="connsiteX0" fmla="*/ 360617 w 3025901"/>
                  <a:gd name="connsiteY0" fmla="*/ 1199388 h 1266824"/>
                  <a:gd name="connsiteX1" fmla="*/ 245745 w 3025901"/>
                  <a:gd name="connsiteY1" fmla="*/ 982694 h 1266824"/>
                  <a:gd name="connsiteX2" fmla="*/ 2786539 w 3025901"/>
                  <a:gd name="connsiteY2" fmla="*/ 301942 h 1266824"/>
                  <a:gd name="connsiteX3" fmla="*/ 2786539 w 3025901"/>
                  <a:gd name="connsiteY3" fmla="*/ 549402 h 1266824"/>
                  <a:gd name="connsiteX4" fmla="*/ 3025902 w 3025901"/>
                  <a:gd name="connsiteY4" fmla="*/ 485299 h 1266824"/>
                  <a:gd name="connsiteX5" fmla="*/ 3025902 w 3025901"/>
                  <a:gd name="connsiteY5" fmla="*/ 0 h 1266824"/>
                  <a:gd name="connsiteX6" fmla="*/ 0 w 3025901"/>
                  <a:gd name="connsiteY6" fmla="*/ 810768 h 1266824"/>
                  <a:gd name="connsiteX7" fmla="*/ 0 w 3025901"/>
                  <a:gd name="connsiteY7" fmla="*/ 920115 h 1266824"/>
                  <a:gd name="connsiteX8" fmla="*/ 108966 w 3025901"/>
                  <a:gd name="connsiteY8" fmla="*/ 1266825 h 1266824"/>
                  <a:gd name="connsiteX9" fmla="*/ 360617 w 3025901"/>
                  <a:gd name="connsiteY9" fmla="*/ 1199388 h 126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25901" h="1266824">
                    <a:moveTo>
                      <a:pt x="360617" y="1199388"/>
                    </a:moveTo>
                    <a:cubicBezTo>
                      <a:pt x="303467" y="1141000"/>
                      <a:pt x="261080" y="1061656"/>
                      <a:pt x="245745" y="982694"/>
                    </a:cubicBezTo>
                    <a:lnTo>
                      <a:pt x="2786539" y="301942"/>
                    </a:lnTo>
                    <a:lnTo>
                      <a:pt x="2786539" y="549402"/>
                    </a:lnTo>
                    <a:lnTo>
                      <a:pt x="3025902" y="485299"/>
                    </a:lnTo>
                    <a:lnTo>
                      <a:pt x="3025902" y="0"/>
                    </a:lnTo>
                    <a:lnTo>
                      <a:pt x="0" y="810768"/>
                    </a:lnTo>
                    <a:lnTo>
                      <a:pt x="0" y="920115"/>
                    </a:lnTo>
                    <a:cubicBezTo>
                      <a:pt x="0" y="1039939"/>
                      <a:pt x="40672" y="1163002"/>
                      <a:pt x="108966" y="1266825"/>
                    </a:cubicBezTo>
                    <a:lnTo>
                      <a:pt x="360617" y="11993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3BEA11C-8E09-B35C-A440-3892584F47B8}"/>
                  </a:ext>
                </a:extLst>
              </p:cNvPr>
              <p:cNvSpPr/>
              <p:nvPr/>
            </p:nvSpPr>
            <p:spPr>
              <a:xfrm>
                <a:off x="485694" y="6525241"/>
                <a:ext cx="3007518" cy="1210818"/>
              </a:xfrm>
              <a:custGeom>
                <a:avLst/>
                <a:gdLst>
                  <a:gd name="connsiteX0" fmla="*/ 0 w 3007518"/>
                  <a:gd name="connsiteY0" fmla="*/ 725519 h 1210818"/>
                  <a:gd name="connsiteX1" fmla="*/ 0 w 3007518"/>
                  <a:gd name="connsiteY1" fmla="*/ 1210818 h 1210818"/>
                  <a:gd name="connsiteX2" fmla="*/ 239363 w 3007518"/>
                  <a:gd name="connsiteY2" fmla="*/ 1146715 h 1210818"/>
                  <a:gd name="connsiteX3" fmla="*/ 239363 w 3007518"/>
                  <a:gd name="connsiteY3" fmla="*/ 899255 h 1210818"/>
                  <a:gd name="connsiteX4" fmla="*/ 2650522 w 3007518"/>
                  <a:gd name="connsiteY4" fmla="*/ 253174 h 1210818"/>
                  <a:gd name="connsiteX5" fmla="*/ 2776538 w 3007518"/>
                  <a:gd name="connsiteY5" fmla="*/ 466820 h 1210818"/>
                  <a:gd name="connsiteX6" fmla="*/ 3007519 w 3007518"/>
                  <a:gd name="connsiteY6" fmla="*/ 404908 h 1210818"/>
                  <a:gd name="connsiteX7" fmla="*/ 2711672 w 3007518"/>
                  <a:gd name="connsiteY7" fmla="*/ 2381 h 1210818"/>
                  <a:gd name="connsiteX8" fmla="*/ 2707577 w 3007518"/>
                  <a:gd name="connsiteY8" fmla="*/ 0 h 1210818"/>
                  <a:gd name="connsiteX9" fmla="*/ 0 w 3007518"/>
                  <a:gd name="connsiteY9" fmla="*/ 725519 h 12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07518" h="1210818">
                    <a:moveTo>
                      <a:pt x="0" y="725519"/>
                    </a:moveTo>
                    <a:lnTo>
                      <a:pt x="0" y="1210818"/>
                    </a:lnTo>
                    <a:lnTo>
                      <a:pt x="239363" y="1146715"/>
                    </a:lnTo>
                    <a:lnTo>
                      <a:pt x="239363" y="899255"/>
                    </a:lnTo>
                    <a:lnTo>
                      <a:pt x="2650522" y="253174"/>
                    </a:lnTo>
                    <a:cubicBezTo>
                      <a:pt x="2710720" y="308515"/>
                      <a:pt x="2757011" y="387096"/>
                      <a:pt x="2776538" y="466820"/>
                    </a:cubicBezTo>
                    <a:lnTo>
                      <a:pt x="3007519" y="404908"/>
                    </a:lnTo>
                    <a:cubicBezTo>
                      <a:pt x="2965704" y="239840"/>
                      <a:pt x="2855786" y="85630"/>
                      <a:pt x="2711672" y="2381"/>
                    </a:cubicBezTo>
                    <a:lnTo>
                      <a:pt x="2707577" y="0"/>
                    </a:lnTo>
                    <a:lnTo>
                      <a:pt x="0" y="7255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2221F81-4E7E-FE23-288E-A46F9BFABBB9}"/>
                  </a:ext>
                </a:extLst>
              </p:cNvPr>
              <p:cNvSpPr/>
              <p:nvPr/>
            </p:nvSpPr>
            <p:spPr>
              <a:xfrm>
                <a:off x="794399" y="7905986"/>
                <a:ext cx="2717196" cy="1322308"/>
              </a:xfrm>
              <a:custGeom>
                <a:avLst/>
                <a:gdLst>
                  <a:gd name="connsiteX0" fmla="*/ 0 w 2717196"/>
                  <a:gd name="connsiteY0" fmla="*/ 728091 h 1322308"/>
                  <a:gd name="connsiteX1" fmla="*/ 5715 w 2717196"/>
                  <a:gd name="connsiteY1" fmla="*/ 731711 h 1322308"/>
                  <a:gd name="connsiteX2" fmla="*/ 889921 w 2717196"/>
                  <a:gd name="connsiteY2" fmla="*/ 1242155 h 1322308"/>
                  <a:gd name="connsiteX3" fmla="*/ 1518666 w 2717196"/>
                  <a:gd name="connsiteY3" fmla="*/ 1242155 h 1322308"/>
                  <a:gd name="connsiteX4" fmla="*/ 2402872 w 2717196"/>
                  <a:gd name="connsiteY4" fmla="*/ 731615 h 1322308"/>
                  <a:gd name="connsiteX5" fmla="*/ 2629472 w 2717196"/>
                  <a:gd name="connsiteY5" fmla="*/ 499396 h 1322308"/>
                  <a:gd name="connsiteX6" fmla="*/ 2717197 w 2717196"/>
                  <a:gd name="connsiteY6" fmla="*/ 187071 h 1322308"/>
                  <a:gd name="connsiteX7" fmla="*/ 2717197 w 2717196"/>
                  <a:gd name="connsiteY7" fmla="*/ 0 h 1322308"/>
                  <a:gd name="connsiteX8" fmla="*/ 0 w 2717196"/>
                  <a:gd name="connsiteY8" fmla="*/ 728091 h 1322308"/>
                  <a:gd name="connsiteX9" fmla="*/ 2422208 w 2717196"/>
                  <a:gd name="connsiteY9" fmla="*/ 379762 h 1322308"/>
                  <a:gd name="connsiteX10" fmla="*/ 2283142 w 2717196"/>
                  <a:gd name="connsiteY10" fmla="*/ 524351 h 1322308"/>
                  <a:gd name="connsiteX11" fmla="*/ 1399032 w 2717196"/>
                  <a:gd name="connsiteY11" fmla="*/ 1034796 h 1322308"/>
                  <a:gd name="connsiteX12" fmla="*/ 1009555 w 2717196"/>
                  <a:gd name="connsiteY12" fmla="*/ 1034796 h 1322308"/>
                  <a:gd name="connsiteX13" fmla="*/ 607981 w 2717196"/>
                  <a:gd name="connsiteY13" fmla="*/ 802957 h 1322308"/>
                  <a:gd name="connsiteX14" fmla="*/ 2455545 w 2717196"/>
                  <a:gd name="connsiteY14" fmla="*/ 307943 h 1322308"/>
                  <a:gd name="connsiteX15" fmla="*/ 2422303 w 2717196"/>
                  <a:gd name="connsiteY15" fmla="*/ 379762 h 132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7196" h="1322308">
                    <a:moveTo>
                      <a:pt x="0" y="728091"/>
                    </a:moveTo>
                    <a:cubicBezTo>
                      <a:pt x="1905" y="729234"/>
                      <a:pt x="3715" y="730568"/>
                      <a:pt x="5715" y="731711"/>
                    </a:cubicBezTo>
                    <a:lnTo>
                      <a:pt x="889921" y="1242155"/>
                    </a:lnTo>
                    <a:cubicBezTo>
                      <a:pt x="1074992" y="1349026"/>
                      <a:pt x="1333595" y="1349026"/>
                      <a:pt x="1518666" y="1242155"/>
                    </a:cubicBezTo>
                    <a:lnTo>
                      <a:pt x="2402872" y="731615"/>
                    </a:lnTo>
                    <a:cubicBezTo>
                      <a:pt x="2517553" y="665416"/>
                      <a:pt x="2589467" y="568738"/>
                      <a:pt x="2629472" y="499396"/>
                    </a:cubicBezTo>
                    <a:cubicBezTo>
                      <a:pt x="2669477" y="430054"/>
                      <a:pt x="2717197" y="319564"/>
                      <a:pt x="2717197" y="187071"/>
                    </a:cubicBezTo>
                    <a:lnTo>
                      <a:pt x="2717197" y="0"/>
                    </a:lnTo>
                    <a:cubicBezTo>
                      <a:pt x="2717197" y="0"/>
                      <a:pt x="0" y="728091"/>
                      <a:pt x="0" y="728091"/>
                    </a:cubicBezTo>
                    <a:close/>
                    <a:moveTo>
                      <a:pt x="2422208" y="379762"/>
                    </a:moveTo>
                    <a:cubicBezTo>
                      <a:pt x="2396776" y="423767"/>
                      <a:pt x="2352008" y="484632"/>
                      <a:pt x="2283142" y="524351"/>
                    </a:cubicBezTo>
                    <a:lnTo>
                      <a:pt x="1399032" y="1034796"/>
                    </a:lnTo>
                    <a:cubicBezTo>
                      <a:pt x="1287971" y="1098899"/>
                      <a:pt x="1120616" y="1098899"/>
                      <a:pt x="1009555" y="1034796"/>
                    </a:cubicBezTo>
                    <a:lnTo>
                      <a:pt x="607981" y="802957"/>
                    </a:lnTo>
                    <a:lnTo>
                      <a:pt x="2455545" y="307943"/>
                    </a:lnTo>
                    <a:cubicBezTo>
                      <a:pt x="2445449" y="335851"/>
                      <a:pt x="2433447" y="360331"/>
                      <a:pt x="2422303" y="3797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E8CDAC9-2590-43C7-750F-E45D25610102}"/>
                </a:ext>
              </a:extLst>
            </p:cNvPr>
            <p:cNvSpPr txBox="1"/>
            <p:nvPr/>
          </p:nvSpPr>
          <p:spPr>
            <a:xfrm>
              <a:off x="1485496" y="5790455"/>
              <a:ext cx="1826456" cy="589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 Light" panose="020B03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x</a:t>
              </a: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" panose="020B05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ll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6" name="-- Name">
            <a:extLst>
              <a:ext uri="{FF2B5EF4-FFF2-40B4-BE49-F238E27FC236}">
                <a16:creationId xmlns:a16="http://schemas.microsoft.com/office/drawing/2014/main" id="{36A002C1-B144-7CEA-BEB0-716EE1F4CCFA}"/>
              </a:ext>
            </a:extLst>
          </p:cNvPr>
          <p:cNvSpPr txBox="1"/>
          <p:nvPr/>
        </p:nvSpPr>
        <p:spPr>
          <a:xfrm>
            <a:off x="3930314" y="5823350"/>
            <a:ext cx="22381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rew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ch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-- Date">
            <a:extLst>
              <a:ext uri="{FF2B5EF4-FFF2-40B4-BE49-F238E27FC236}">
                <a16:creationId xmlns:a16="http://schemas.microsoft.com/office/drawing/2014/main" id="{5B42DB5B-EA18-8BB9-9AE5-E5CED84CFFDB}"/>
              </a:ext>
            </a:extLst>
          </p:cNvPr>
          <p:cNvSpPr txBox="1"/>
          <p:nvPr/>
        </p:nvSpPr>
        <p:spPr>
          <a:xfrm>
            <a:off x="6780615" y="5857161"/>
            <a:ext cx="15536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n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50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OP Cover1">
            <a:extLst>
              <a:ext uri="{FF2B5EF4-FFF2-40B4-BE49-F238E27FC236}">
                <a16:creationId xmlns:a16="http://schemas.microsoft.com/office/drawing/2014/main" id="{F3361121-FF2E-719B-40F5-985AB824A353}"/>
              </a:ext>
            </a:extLst>
          </p:cNvPr>
          <p:cNvSpPr/>
          <p:nvPr/>
        </p:nvSpPr>
        <p:spPr>
          <a:xfrm>
            <a:off x="1865740" y="2157061"/>
            <a:ext cx="4113015" cy="5322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3333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7" name="TOP Cover1">
            <a:extLst>
              <a:ext uri="{FF2B5EF4-FFF2-40B4-BE49-F238E27FC236}">
                <a16:creationId xmlns:a16="http://schemas.microsoft.com/office/drawing/2014/main" id="{8B1F2FDF-71F3-7D75-AEC7-64BC880A257F}"/>
              </a:ext>
            </a:extLst>
          </p:cNvPr>
          <p:cNvSpPr/>
          <p:nvPr/>
        </p:nvSpPr>
        <p:spPr>
          <a:xfrm>
            <a:off x="1865740" y="2157061"/>
            <a:ext cx="4113015" cy="523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3333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8" name="TOP Cover1">
            <a:extLst>
              <a:ext uri="{FF2B5EF4-FFF2-40B4-BE49-F238E27FC236}">
                <a16:creationId xmlns:a16="http://schemas.microsoft.com/office/drawing/2014/main" id="{7DA8D49E-06DC-2395-B1B3-DBD1DC35B862}"/>
              </a:ext>
            </a:extLst>
          </p:cNvPr>
          <p:cNvSpPr/>
          <p:nvPr/>
        </p:nvSpPr>
        <p:spPr>
          <a:xfrm>
            <a:off x="1865740" y="2157061"/>
            <a:ext cx="4113015" cy="523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3333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9" name="BOT Cover3">
            <a:extLst>
              <a:ext uri="{FF2B5EF4-FFF2-40B4-BE49-F238E27FC236}">
                <a16:creationId xmlns:a16="http://schemas.microsoft.com/office/drawing/2014/main" id="{79D76250-4461-69FB-78DC-79646A1F091A}"/>
              </a:ext>
            </a:extLst>
          </p:cNvPr>
          <p:cNvSpPr/>
          <p:nvPr/>
        </p:nvSpPr>
        <p:spPr>
          <a:xfrm>
            <a:off x="2040905" y="2735029"/>
            <a:ext cx="4902762" cy="1818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3333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10" name="BOT Cover2">
            <a:extLst>
              <a:ext uri="{FF2B5EF4-FFF2-40B4-BE49-F238E27FC236}">
                <a16:creationId xmlns:a16="http://schemas.microsoft.com/office/drawing/2014/main" id="{7C5D318E-C134-D441-1276-F95927BBF870}"/>
              </a:ext>
            </a:extLst>
          </p:cNvPr>
          <p:cNvSpPr/>
          <p:nvPr/>
        </p:nvSpPr>
        <p:spPr>
          <a:xfrm>
            <a:off x="1989454" y="2751194"/>
            <a:ext cx="4902762" cy="1818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3333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11" name="BOT Cover1">
            <a:extLst>
              <a:ext uri="{FF2B5EF4-FFF2-40B4-BE49-F238E27FC236}">
                <a16:creationId xmlns:a16="http://schemas.microsoft.com/office/drawing/2014/main" id="{BA964985-26FC-E7E9-A76B-C09C41F8FA9D}"/>
              </a:ext>
            </a:extLst>
          </p:cNvPr>
          <p:cNvSpPr/>
          <p:nvPr/>
        </p:nvSpPr>
        <p:spPr>
          <a:xfrm>
            <a:off x="1791333" y="2767359"/>
            <a:ext cx="4902762" cy="1818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3333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pic>
        <p:nvPicPr>
          <p:cNvPr id="16" name="Phone">
            <a:extLst>
              <a:ext uri="{FF2B5EF4-FFF2-40B4-BE49-F238E27FC236}">
                <a16:creationId xmlns:a16="http://schemas.microsoft.com/office/drawing/2014/main" id="{3B64A2FF-7670-784E-D0ED-397A23C506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5" r="5075"/>
          <a:stretch/>
        </p:blipFill>
        <p:spPr>
          <a:xfrm>
            <a:off x="7911034" y="800727"/>
            <a:ext cx="3354498" cy="523803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D2F5FC7-39D3-5985-4972-3AF0D2B7E83E}"/>
              </a:ext>
            </a:extLst>
          </p:cNvPr>
          <p:cNvSpPr/>
          <p:nvPr/>
        </p:nvSpPr>
        <p:spPr>
          <a:xfrm>
            <a:off x="-517526" y="0"/>
            <a:ext cx="517526" cy="6858000"/>
          </a:xfrm>
          <a:prstGeom prst="rect">
            <a:avLst/>
          </a:prstGeom>
          <a:solidFill>
            <a:srgbClr val="FDFD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CAA0A8-DD6E-C542-7A01-180B73907CFE}"/>
              </a:ext>
            </a:extLst>
          </p:cNvPr>
          <p:cNvSpPr/>
          <p:nvPr/>
        </p:nvSpPr>
        <p:spPr>
          <a:xfrm>
            <a:off x="12192001" y="0"/>
            <a:ext cx="481098" cy="6858000"/>
          </a:xfrm>
          <a:prstGeom prst="rect">
            <a:avLst/>
          </a:prstGeom>
          <a:solidFill>
            <a:srgbClr val="FDFD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29" name="!!L">
            <a:extLst>
              <a:ext uri="{FF2B5EF4-FFF2-40B4-BE49-F238E27FC236}">
                <a16:creationId xmlns:a16="http://schemas.microsoft.com/office/drawing/2014/main" id="{7FF9E662-B10C-6821-5D4E-BC939D97387F}"/>
              </a:ext>
            </a:extLst>
          </p:cNvPr>
          <p:cNvSpPr/>
          <p:nvPr/>
        </p:nvSpPr>
        <p:spPr>
          <a:xfrm>
            <a:off x="6060000" y="-648182"/>
            <a:ext cx="72000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!!R">
            <a:extLst>
              <a:ext uri="{FF2B5EF4-FFF2-40B4-BE49-F238E27FC236}">
                <a16:creationId xmlns:a16="http://schemas.microsoft.com/office/drawing/2014/main" id="{5E9B6FA5-BF39-C0E0-B217-791D6310E5E1}"/>
              </a:ext>
            </a:extLst>
          </p:cNvPr>
          <p:cNvSpPr/>
          <p:nvPr/>
        </p:nvSpPr>
        <p:spPr>
          <a:xfrm>
            <a:off x="6060000" y="-648182"/>
            <a:ext cx="72000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45746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50000" decel="5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3.125E-6 0 L 3.125E-6 -1.01343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671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accel="50000" decel="50000" fill="remove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0.00026 0.91204 L -0.00039 0.00046 " pathEditMode="relative" rAng="0" ptsTypes="AA">
                                      <p:cBhvr>
                                        <p:cTn id="14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4557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accel="50000" decel="50000" autoRev="1" fill="remove" nodeType="withEffect">
                                  <p:stCondLst>
                                    <p:cond delay="1500"/>
                                  </p:stCondLst>
                                  <p:childTnLst>
                                    <p:animRot by="600000">
                                      <p:cBhvr>
                                        <p:cTn id="1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11 -0.00046 L 0.0086 -0.00046 L 0.00013 -0.00046 " pathEditMode="relative" rAng="0" ptsTypes="AAA">
                                      <p:cBhvr>
                                        <p:cTn id="21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55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0" nodeType="withEffect">
                                  <p:stCondLst>
                                    <p:cond delay="23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0" nodeType="withEffect">
                                  <p:stCondLst>
                                    <p:cond delay="33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43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0" presetClass="pat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2421 -4.81481E-6 L 0.01367 -4.81481E-6 L -0.00053 -4.81481E-6 " pathEditMode="relative" rAng="0" ptsTypes="AAA">
                                      <p:cBhvr>
                                        <p:cTn id="3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7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0" nodeType="withEffect">
                                  <p:stCondLst>
                                    <p:cond delay="64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0" nodeType="withEffect">
                                  <p:stCondLst>
                                    <p:cond delay="74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1" nodeType="withEffect">
                                  <p:stCondLst>
                                    <p:cond delay="84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0" nodeType="withEffect">
                                  <p:stCondLst>
                                    <p:cond delay="84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3" grpId="0"/>
      <p:bldP spid="3" grpId="1"/>
      <p:bldP spid="2" grpId="0"/>
      <p:bldP spid="2" grpId="1"/>
      <p:bldP spid="26" grpId="0"/>
      <p:bldP spid="27" grpId="0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E">
            <a:extLst>
              <a:ext uri="{FF2B5EF4-FFF2-40B4-BE49-F238E27FC236}">
                <a16:creationId xmlns:a16="http://schemas.microsoft.com/office/drawing/2014/main" id="{54651D47-3C25-AEDE-26A8-A4231A13AC3A}"/>
              </a:ext>
            </a:extLst>
          </p:cNvPr>
          <p:cNvCxnSpPr/>
          <p:nvPr/>
        </p:nvCxnSpPr>
        <p:spPr>
          <a:xfrm>
            <a:off x="9780563" y="0"/>
            <a:ext cx="0" cy="6858000"/>
          </a:xfrm>
          <a:prstGeom prst="line">
            <a:avLst/>
          </a:prstGeom>
          <a:ln w="38100">
            <a:solidFill>
              <a:srgbClr val="FDFD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LINE R">
            <a:extLst>
              <a:ext uri="{FF2B5EF4-FFF2-40B4-BE49-F238E27FC236}">
                <a16:creationId xmlns:a16="http://schemas.microsoft.com/office/drawing/2014/main" id="{79A7EBD1-C654-E9A3-C0DA-00940BA3AF24}"/>
              </a:ext>
            </a:extLst>
          </p:cNvPr>
          <p:cNvSpPr/>
          <p:nvPr/>
        </p:nvSpPr>
        <p:spPr>
          <a:xfrm>
            <a:off x="9729111" y="0"/>
            <a:ext cx="1540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3" name="// Sub">
            <a:extLst>
              <a:ext uri="{FF2B5EF4-FFF2-40B4-BE49-F238E27FC236}">
                <a16:creationId xmlns:a16="http://schemas.microsoft.com/office/drawing/2014/main" id="{A6BC3D88-B245-EC16-B792-66A8B7DF1032}"/>
              </a:ext>
            </a:extLst>
          </p:cNvPr>
          <p:cNvSpPr txBox="1"/>
          <p:nvPr/>
        </p:nvSpPr>
        <p:spPr>
          <a:xfrm>
            <a:off x="1810333" y="2646717"/>
            <a:ext cx="3776996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6000" b="1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rter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6000" b="1" dirty="0">
                <a:solidFill>
                  <a:srgbClr val="B08FE1"/>
                </a:solidFill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// T1">
            <a:extLst>
              <a:ext uri="{FF2B5EF4-FFF2-40B4-BE49-F238E27FC236}">
                <a16:creationId xmlns:a16="http://schemas.microsoft.com/office/drawing/2014/main" id="{46A389AA-4B19-C69D-6BAF-24784E179008}"/>
              </a:ext>
            </a:extLst>
          </p:cNvPr>
          <p:cNvSpPr txBox="1"/>
          <p:nvPr/>
        </p:nvSpPr>
        <p:spPr>
          <a:xfrm>
            <a:off x="1876050" y="2070180"/>
            <a:ext cx="37625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e ovrerview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8" name="-- Logo">
            <a:extLst>
              <a:ext uri="{FF2B5EF4-FFF2-40B4-BE49-F238E27FC236}">
                <a16:creationId xmlns:a16="http://schemas.microsoft.com/office/drawing/2014/main" id="{EFF0E048-DF31-F0B3-E09A-D283E3BA6C99}"/>
              </a:ext>
            </a:extLst>
          </p:cNvPr>
          <p:cNvGrpSpPr/>
          <p:nvPr/>
        </p:nvGrpSpPr>
        <p:grpSpPr>
          <a:xfrm>
            <a:off x="1299591" y="5823350"/>
            <a:ext cx="2018535" cy="523220"/>
            <a:chOff x="1037784" y="5790455"/>
            <a:chExt cx="2274168" cy="58948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A4F546A-F072-A9F3-946A-21D44491577A}"/>
                </a:ext>
              </a:extLst>
            </p:cNvPr>
            <p:cNvGrpSpPr/>
            <p:nvPr/>
          </p:nvGrpSpPr>
          <p:grpSpPr>
            <a:xfrm>
              <a:off x="1037784" y="5897948"/>
              <a:ext cx="384186" cy="417890"/>
              <a:chOff x="485694" y="5936930"/>
              <a:chExt cx="3025901" cy="3291364"/>
            </a:xfrm>
            <a:solidFill>
              <a:schemeClr val="bg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3F44A36-39FE-7CD8-2E17-4A6B64E28093}"/>
                  </a:ext>
                </a:extLst>
              </p:cNvPr>
              <p:cNvSpPr/>
              <p:nvPr/>
            </p:nvSpPr>
            <p:spPr>
              <a:xfrm>
                <a:off x="490170" y="5936930"/>
                <a:ext cx="2409920" cy="1064847"/>
              </a:xfrm>
              <a:custGeom>
                <a:avLst/>
                <a:gdLst>
                  <a:gd name="connsiteX0" fmla="*/ 265367 w 2409920"/>
                  <a:gd name="connsiteY0" fmla="*/ 993696 h 1064847"/>
                  <a:gd name="connsiteX1" fmla="*/ 290608 w 2409920"/>
                  <a:gd name="connsiteY1" fmla="*/ 942546 h 1064847"/>
                  <a:gd name="connsiteX2" fmla="*/ 429578 w 2409920"/>
                  <a:gd name="connsiteY2" fmla="*/ 797957 h 1064847"/>
                  <a:gd name="connsiteX3" fmla="*/ 1313783 w 2409920"/>
                  <a:gd name="connsiteY3" fmla="*/ 287512 h 1064847"/>
                  <a:gd name="connsiteX4" fmla="*/ 1703260 w 2409920"/>
                  <a:gd name="connsiteY4" fmla="*/ 287512 h 1064847"/>
                  <a:gd name="connsiteX5" fmla="*/ 2082927 w 2409920"/>
                  <a:gd name="connsiteY5" fmla="*/ 506682 h 1064847"/>
                  <a:gd name="connsiteX6" fmla="*/ 2409920 w 2409920"/>
                  <a:gd name="connsiteY6" fmla="*/ 419052 h 1064847"/>
                  <a:gd name="connsiteX7" fmla="*/ 1822990 w 2409920"/>
                  <a:gd name="connsiteY7" fmla="*/ 80153 h 1064847"/>
                  <a:gd name="connsiteX8" fmla="*/ 1194245 w 2409920"/>
                  <a:gd name="connsiteY8" fmla="*/ 80153 h 1064847"/>
                  <a:gd name="connsiteX9" fmla="*/ 309943 w 2409920"/>
                  <a:gd name="connsiteY9" fmla="*/ 590693 h 1064847"/>
                  <a:gd name="connsiteX10" fmla="*/ 83344 w 2409920"/>
                  <a:gd name="connsiteY10" fmla="*/ 822912 h 1064847"/>
                  <a:gd name="connsiteX11" fmla="*/ 0 w 2409920"/>
                  <a:gd name="connsiteY11" fmla="*/ 1064847 h 1064847"/>
                  <a:gd name="connsiteX12" fmla="*/ 265367 w 2409920"/>
                  <a:gd name="connsiteY12" fmla="*/ 993791 h 1064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09920" h="1064847">
                    <a:moveTo>
                      <a:pt x="265367" y="993696"/>
                    </a:moveTo>
                    <a:cubicBezTo>
                      <a:pt x="273463" y="974360"/>
                      <a:pt x="282321" y="957024"/>
                      <a:pt x="290608" y="942546"/>
                    </a:cubicBezTo>
                    <a:cubicBezTo>
                      <a:pt x="316040" y="898541"/>
                      <a:pt x="360807" y="837676"/>
                      <a:pt x="429578" y="797957"/>
                    </a:cubicBezTo>
                    <a:lnTo>
                      <a:pt x="1313783" y="287512"/>
                    </a:lnTo>
                    <a:cubicBezTo>
                      <a:pt x="1424845" y="223409"/>
                      <a:pt x="1592199" y="223409"/>
                      <a:pt x="1703260" y="287512"/>
                    </a:cubicBezTo>
                    <a:lnTo>
                      <a:pt x="2082927" y="506682"/>
                    </a:lnTo>
                    <a:lnTo>
                      <a:pt x="2409920" y="419052"/>
                    </a:lnTo>
                    <a:lnTo>
                      <a:pt x="1822990" y="80153"/>
                    </a:lnTo>
                    <a:cubicBezTo>
                      <a:pt x="1637919" y="-26718"/>
                      <a:pt x="1379315" y="-26718"/>
                      <a:pt x="1194245" y="80153"/>
                    </a:cubicBezTo>
                    <a:lnTo>
                      <a:pt x="309943" y="590693"/>
                    </a:lnTo>
                    <a:cubicBezTo>
                      <a:pt x="195263" y="656987"/>
                      <a:pt x="123444" y="753475"/>
                      <a:pt x="83344" y="822912"/>
                    </a:cubicBezTo>
                    <a:cubicBezTo>
                      <a:pt x="50578" y="879586"/>
                      <a:pt x="12763" y="963692"/>
                      <a:pt x="0" y="1064847"/>
                    </a:cubicBezTo>
                    <a:lnTo>
                      <a:pt x="265367" y="9937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41BC7C4-24F1-8726-FA22-7A76606FDDE7}"/>
                  </a:ext>
                </a:extLst>
              </p:cNvPr>
              <p:cNvSpPr/>
              <p:nvPr/>
            </p:nvSpPr>
            <p:spPr>
              <a:xfrm>
                <a:off x="485694" y="7173037"/>
                <a:ext cx="3025901" cy="1266824"/>
              </a:xfrm>
              <a:custGeom>
                <a:avLst/>
                <a:gdLst>
                  <a:gd name="connsiteX0" fmla="*/ 360617 w 3025901"/>
                  <a:gd name="connsiteY0" fmla="*/ 1199388 h 1266824"/>
                  <a:gd name="connsiteX1" fmla="*/ 245745 w 3025901"/>
                  <a:gd name="connsiteY1" fmla="*/ 982694 h 1266824"/>
                  <a:gd name="connsiteX2" fmla="*/ 2786539 w 3025901"/>
                  <a:gd name="connsiteY2" fmla="*/ 301942 h 1266824"/>
                  <a:gd name="connsiteX3" fmla="*/ 2786539 w 3025901"/>
                  <a:gd name="connsiteY3" fmla="*/ 549402 h 1266824"/>
                  <a:gd name="connsiteX4" fmla="*/ 3025902 w 3025901"/>
                  <a:gd name="connsiteY4" fmla="*/ 485299 h 1266824"/>
                  <a:gd name="connsiteX5" fmla="*/ 3025902 w 3025901"/>
                  <a:gd name="connsiteY5" fmla="*/ 0 h 1266824"/>
                  <a:gd name="connsiteX6" fmla="*/ 0 w 3025901"/>
                  <a:gd name="connsiteY6" fmla="*/ 810768 h 1266824"/>
                  <a:gd name="connsiteX7" fmla="*/ 0 w 3025901"/>
                  <a:gd name="connsiteY7" fmla="*/ 920115 h 1266824"/>
                  <a:gd name="connsiteX8" fmla="*/ 108966 w 3025901"/>
                  <a:gd name="connsiteY8" fmla="*/ 1266825 h 1266824"/>
                  <a:gd name="connsiteX9" fmla="*/ 360617 w 3025901"/>
                  <a:gd name="connsiteY9" fmla="*/ 1199388 h 126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25901" h="1266824">
                    <a:moveTo>
                      <a:pt x="360617" y="1199388"/>
                    </a:moveTo>
                    <a:cubicBezTo>
                      <a:pt x="303467" y="1141000"/>
                      <a:pt x="261080" y="1061656"/>
                      <a:pt x="245745" y="982694"/>
                    </a:cubicBezTo>
                    <a:lnTo>
                      <a:pt x="2786539" y="301942"/>
                    </a:lnTo>
                    <a:lnTo>
                      <a:pt x="2786539" y="549402"/>
                    </a:lnTo>
                    <a:lnTo>
                      <a:pt x="3025902" y="485299"/>
                    </a:lnTo>
                    <a:lnTo>
                      <a:pt x="3025902" y="0"/>
                    </a:lnTo>
                    <a:lnTo>
                      <a:pt x="0" y="810768"/>
                    </a:lnTo>
                    <a:lnTo>
                      <a:pt x="0" y="920115"/>
                    </a:lnTo>
                    <a:cubicBezTo>
                      <a:pt x="0" y="1039939"/>
                      <a:pt x="40672" y="1163002"/>
                      <a:pt x="108966" y="1266825"/>
                    </a:cubicBezTo>
                    <a:lnTo>
                      <a:pt x="360617" y="11993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3BEA11C-8E09-B35C-A440-3892584F47B8}"/>
                  </a:ext>
                </a:extLst>
              </p:cNvPr>
              <p:cNvSpPr/>
              <p:nvPr/>
            </p:nvSpPr>
            <p:spPr>
              <a:xfrm>
                <a:off x="485694" y="6525241"/>
                <a:ext cx="3007518" cy="1210818"/>
              </a:xfrm>
              <a:custGeom>
                <a:avLst/>
                <a:gdLst>
                  <a:gd name="connsiteX0" fmla="*/ 0 w 3007518"/>
                  <a:gd name="connsiteY0" fmla="*/ 725519 h 1210818"/>
                  <a:gd name="connsiteX1" fmla="*/ 0 w 3007518"/>
                  <a:gd name="connsiteY1" fmla="*/ 1210818 h 1210818"/>
                  <a:gd name="connsiteX2" fmla="*/ 239363 w 3007518"/>
                  <a:gd name="connsiteY2" fmla="*/ 1146715 h 1210818"/>
                  <a:gd name="connsiteX3" fmla="*/ 239363 w 3007518"/>
                  <a:gd name="connsiteY3" fmla="*/ 899255 h 1210818"/>
                  <a:gd name="connsiteX4" fmla="*/ 2650522 w 3007518"/>
                  <a:gd name="connsiteY4" fmla="*/ 253174 h 1210818"/>
                  <a:gd name="connsiteX5" fmla="*/ 2776538 w 3007518"/>
                  <a:gd name="connsiteY5" fmla="*/ 466820 h 1210818"/>
                  <a:gd name="connsiteX6" fmla="*/ 3007519 w 3007518"/>
                  <a:gd name="connsiteY6" fmla="*/ 404908 h 1210818"/>
                  <a:gd name="connsiteX7" fmla="*/ 2711672 w 3007518"/>
                  <a:gd name="connsiteY7" fmla="*/ 2381 h 1210818"/>
                  <a:gd name="connsiteX8" fmla="*/ 2707577 w 3007518"/>
                  <a:gd name="connsiteY8" fmla="*/ 0 h 1210818"/>
                  <a:gd name="connsiteX9" fmla="*/ 0 w 3007518"/>
                  <a:gd name="connsiteY9" fmla="*/ 725519 h 12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07518" h="1210818">
                    <a:moveTo>
                      <a:pt x="0" y="725519"/>
                    </a:moveTo>
                    <a:lnTo>
                      <a:pt x="0" y="1210818"/>
                    </a:lnTo>
                    <a:lnTo>
                      <a:pt x="239363" y="1146715"/>
                    </a:lnTo>
                    <a:lnTo>
                      <a:pt x="239363" y="899255"/>
                    </a:lnTo>
                    <a:lnTo>
                      <a:pt x="2650522" y="253174"/>
                    </a:lnTo>
                    <a:cubicBezTo>
                      <a:pt x="2710720" y="308515"/>
                      <a:pt x="2757011" y="387096"/>
                      <a:pt x="2776538" y="466820"/>
                    </a:cubicBezTo>
                    <a:lnTo>
                      <a:pt x="3007519" y="404908"/>
                    </a:lnTo>
                    <a:cubicBezTo>
                      <a:pt x="2965704" y="239840"/>
                      <a:pt x="2855786" y="85630"/>
                      <a:pt x="2711672" y="2381"/>
                    </a:cubicBezTo>
                    <a:lnTo>
                      <a:pt x="2707577" y="0"/>
                    </a:lnTo>
                    <a:lnTo>
                      <a:pt x="0" y="7255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2221F81-4E7E-FE23-288E-A46F9BFABBB9}"/>
                  </a:ext>
                </a:extLst>
              </p:cNvPr>
              <p:cNvSpPr/>
              <p:nvPr/>
            </p:nvSpPr>
            <p:spPr>
              <a:xfrm>
                <a:off x="794399" y="7905986"/>
                <a:ext cx="2717196" cy="1322308"/>
              </a:xfrm>
              <a:custGeom>
                <a:avLst/>
                <a:gdLst>
                  <a:gd name="connsiteX0" fmla="*/ 0 w 2717196"/>
                  <a:gd name="connsiteY0" fmla="*/ 728091 h 1322308"/>
                  <a:gd name="connsiteX1" fmla="*/ 5715 w 2717196"/>
                  <a:gd name="connsiteY1" fmla="*/ 731711 h 1322308"/>
                  <a:gd name="connsiteX2" fmla="*/ 889921 w 2717196"/>
                  <a:gd name="connsiteY2" fmla="*/ 1242155 h 1322308"/>
                  <a:gd name="connsiteX3" fmla="*/ 1518666 w 2717196"/>
                  <a:gd name="connsiteY3" fmla="*/ 1242155 h 1322308"/>
                  <a:gd name="connsiteX4" fmla="*/ 2402872 w 2717196"/>
                  <a:gd name="connsiteY4" fmla="*/ 731615 h 1322308"/>
                  <a:gd name="connsiteX5" fmla="*/ 2629472 w 2717196"/>
                  <a:gd name="connsiteY5" fmla="*/ 499396 h 1322308"/>
                  <a:gd name="connsiteX6" fmla="*/ 2717197 w 2717196"/>
                  <a:gd name="connsiteY6" fmla="*/ 187071 h 1322308"/>
                  <a:gd name="connsiteX7" fmla="*/ 2717197 w 2717196"/>
                  <a:gd name="connsiteY7" fmla="*/ 0 h 1322308"/>
                  <a:gd name="connsiteX8" fmla="*/ 0 w 2717196"/>
                  <a:gd name="connsiteY8" fmla="*/ 728091 h 1322308"/>
                  <a:gd name="connsiteX9" fmla="*/ 2422208 w 2717196"/>
                  <a:gd name="connsiteY9" fmla="*/ 379762 h 1322308"/>
                  <a:gd name="connsiteX10" fmla="*/ 2283142 w 2717196"/>
                  <a:gd name="connsiteY10" fmla="*/ 524351 h 1322308"/>
                  <a:gd name="connsiteX11" fmla="*/ 1399032 w 2717196"/>
                  <a:gd name="connsiteY11" fmla="*/ 1034796 h 1322308"/>
                  <a:gd name="connsiteX12" fmla="*/ 1009555 w 2717196"/>
                  <a:gd name="connsiteY12" fmla="*/ 1034796 h 1322308"/>
                  <a:gd name="connsiteX13" fmla="*/ 607981 w 2717196"/>
                  <a:gd name="connsiteY13" fmla="*/ 802957 h 1322308"/>
                  <a:gd name="connsiteX14" fmla="*/ 2455545 w 2717196"/>
                  <a:gd name="connsiteY14" fmla="*/ 307943 h 1322308"/>
                  <a:gd name="connsiteX15" fmla="*/ 2422303 w 2717196"/>
                  <a:gd name="connsiteY15" fmla="*/ 379762 h 132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7196" h="1322308">
                    <a:moveTo>
                      <a:pt x="0" y="728091"/>
                    </a:moveTo>
                    <a:cubicBezTo>
                      <a:pt x="1905" y="729234"/>
                      <a:pt x="3715" y="730568"/>
                      <a:pt x="5715" y="731711"/>
                    </a:cubicBezTo>
                    <a:lnTo>
                      <a:pt x="889921" y="1242155"/>
                    </a:lnTo>
                    <a:cubicBezTo>
                      <a:pt x="1074992" y="1349026"/>
                      <a:pt x="1333595" y="1349026"/>
                      <a:pt x="1518666" y="1242155"/>
                    </a:cubicBezTo>
                    <a:lnTo>
                      <a:pt x="2402872" y="731615"/>
                    </a:lnTo>
                    <a:cubicBezTo>
                      <a:pt x="2517553" y="665416"/>
                      <a:pt x="2589467" y="568738"/>
                      <a:pt x="2629472" y="499396"/>
                    </a:cubicBezTo>
                    <a:cubicBezTo>
                      <a:pt x="2669477" y="430054"/>
                      <a:pt x="2717197" y="319564"/>
                      <a:pt x="2717197" y="187071"/>
                    </a:cubicBezTo>
                    <a:lnTo>
                      <a:pt x="2717197" y="0"/>
                    </a:lnTo>
                    <a:cubicBezTo>
                      <a:pt x="2717197" y="0"/>
                      <a:pt x="0" y="728091"/>
                      <a:pt x="0" y="728091"/>
                    </a:cubicBezTo>
                    <a:close/>
                    <a:moveTo>
                      <a:pt x="2422208" y="379762"/>
                    </a:moveTo>
                    <a:cubicBezTo>
                      <a:pt x="2396776" y="423767"/>
                      <a:pt x="2352008" y="484632"/>
                      <a:pt x="2283142" y="524351"/>
                    </a:cubicBezTo>
                    <a:lnTo>
                      <a:pt x="1399032" y="1034796"/>
                    </a:lnTo>
                    <a:cubicBezTo>
                      <a:pt x="1287971" y="1098899"/>
                      <a:pt x="1120616" y="1098899"/>
                      <a:pt x="1009555" y="1034796"/>
                    </a:cubicBezTo>
                    <a:lnTo>
                      <a:pt x="607981" y="802957"/>
                    </a:lnTo>
                    <a:lnTo>
                      <a:pt x="2455545" y="307943"/>
                    </a:lnTo>
                    <a:cubicBezTo>
                      <a:pt x="2445449" y="335851"/>
                      <a:pt x="2433447" y="360331"/>
                      <a:pt x="2422303" y="3797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E8CDAC9-2590-43C7-750F-E45D25610102}"/>
                </a:ext>
              </a:extLst>
            </p:cNvPr>
            <p:cNvSpPr txBox="1"/>
            <p:nvPr/>
          </p:nvSpPr>
          <p:spPr>
            <a:xfrm>
              <a:off x="1485496" y="5790455"/>
              <a:ext cx="1826456" cy="589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 Light" panose="020B03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x</a:t>
              </a: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" panose="020B05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ll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6" name="-- Name">
            <a:extLst>
              <a:ext uri="{FF2B5EF4-FFF2-40B4-BE49-F238E27FC236}">
                <a16:creationId xmlns:a16="http://schemas.microsoft.com/office/drawing/2014/main" id="{36A002C1-B144-7CEA-BEB0-716EE1F4CCFA}"/>
              </a:ext>
            </a:extLst>
          </p:cNvPr>
          <p:cNvSpPr txBox="1"/>
          <p:nvPr/>
        </p:nvSpPr>
        <p:spPr>
          <a:xfrm>
            <a:off x="3930314" y="5823350"/>
            <a:ext cx="22381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rew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ch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-- Date">
            <a:extLst>
              <a:ext uri="{FF2B5EF4-FFF2-40B4-BE49-F238E27FC236}">
                <a16:creationId xmlns:a16="http://schemas.microsoft.com/office/drawing/2014/main" id="{5B42DB5B-EA18-8BB9-9AE5-E5CED84CFFDB}"/>
              </a:ext>
            </a:extLst>
          </p:cNvPr>
          <p:cNvSpPr txBox="1"/>
          <p:nvPr/>
        </p:nvSpPr>
        <p:spPr>
          <a:xfrm>
            <a:off x="6780615" y="5857161"/>
            <a:ext cx="15536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n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50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6" name="Phone">
            <a:extLst>
              <a:ext uri="{FF2B5EF4-FFF2-40B4-BE49-F238E27FC236}">
                <a16:creationId xmlns:a16="http://schemas.microsoft.com/office/drawing/2014/main" id="{3B64A2FF-7670-784E-D0ED-397A23C506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5" r="5075"/>
          <a:stretch/>
        </p:blipFill>
        <p:spPr>
          <a:xfrm>
            <a:off x="7923734" y="800727"/>
            <a:ext cx="3354498" cy="5238035"/>
          </a:xfrm>
          <a:prstGeom prst="rect">
            <a:avLst/>
          </a:prstGeom>
        </p:spPr>
      </p:pic>
      <p:sp>
        <p:nvSpPr>
          <p:cNvPr id="31" name="!!L">
            <a:extLst>
              <a:ext uri="{FF2B5EF4-FFF2-40B4-BE49-F238E27FC236}">
                <a16:creationId xmlns:a16="http://schemas.microsoft.com/office/drawing/2014/main" id="{39CC068B-AD1D-3983-538E-C81EF21ADE81}"/>
              </a:ext>
            </a:extLst>
          </p:cNvPr>
          <p:cNvSpPr/>
          <p:nvPr/>
        </p:nvSpPr>
        <p:spPr>
          <a:xfrm>
            <a:off x="6060000" y="0"/>
            <a:ext cx="7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!!R">
            <a:extLst>
              <a:ext uri="{FF2B5EF4-FFF2-40B4-BE49-F238E27FC236}">
                <a16:creationId xmlns:a16="http://schemas.microsoft.com/office/drawing/2014/main" id="{30CEF3DC-9525-0EB9-6B26-8F6CE2F392CB}"/>
              </a:ext>
            </a:extLst>
          </p:cNvPr>
          <p:cNvSpPr/>
          <p:nvPr/>
        </p:nvSpPr>
        <p:spPr>
          <a:xfrm>
            <a:off x="6060000" y="0"/>
            <a:ext cx="7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2726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 advClick="0" advTm="0">
        <p159:morph option="byObject"/>
      </p:transition>
    </mc:Choice>
    <mc:Fallback xmlns="">
      <p:transition spd="med" advClick="0" advTm="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E">
            <a:extLst>
              <a:ext uri="{FF2B5EF4-FFF2-40B4-BE49-F238E27FC236}">
                <a16:creationId xmlns:a16="http://schemas.microsoft.com/office/drawing/2014/main" id="{54651D47-3C25-AEDE-26A8-A4231A13AC3A}"/>
              </a:ext>
            </a:extLst>
          </p:cNvPr>
          <p:cNvCxnSpPr/>
          <p:nvPr/>
        </p:nvCxnSpPr>
        <p:spPr>
          <a:xfrm>
            <a:off x="9780563" y="0"/>
            <a:ext cx="0" cy="6858000"/>
          </a:xfrm>
          <a:prstGeom prst="line">
            <a:avLst/>
          </a:prstGeom>
          <a:ln w="38100">
            <a:solidFill>
              <a:srgbClr val="FDFD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LINE R">
            <a:extLst>
              <a:ext uri="{FF2B5EF4-FFF2-40B4-BE49-F238E27FC236}">
                <a16:creationId xmlns:a16="http://schemas.microsoft.com/office/drawing/2014/main" id="{79A7EBD1-C654-E9A3-C0DA-00940BA3AF24}"/>
              </a:ext>
            </a:extLst>
          </p:cNvPr>
          <p:cNvSpPr/>
          <p:nvPr/>
        </p:nvSpPr>
        <p:spPr>
          <a:xfrm>
            <a:off x="9729111" y="0"/>
            <a:ext cx="1540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  <p:sp>
        <p:nvSpPr>
          <p:cNvPr id="3" name="// Sub">
            <a:extLst>
              <a:ext uri="{FF2B5EF4-FFF2-40B4-BE49-F238E27FC236}">
                <a16:creationId xmlns:a16="http://schemas.microsoft.com/office/drawing/2014/main" id="{A6BC3D88-B245-EC16-B792-66A8B7DF1032}"/>
              </a:ext>
            </a:extLst>
          </p:cNvPr>
          <p:cNvSpPr txBox="1"/>
          <p:nvPr/>
        </p:nvSpPr>
        <p:spPr>
          <a:xfrm>
            <a:off x="1810333" y="2646717"/>
            <a:ext cx="3776996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6000" b="1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rter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6000" b="1" dirty="0">
                <a:solidFill>
                  <a:srgbClr val="B08FE1"/>
                </a:solidFill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// T1">
            <a:extLst>
              <a:ext uri="{FF2B5EF4-FFF2-40B4-BE49-F238E27FC236}">
                <a16:creationId xmlns:a16="http://schemas.microsoft.com/office/drawing/2014/main" id="{46A389AA-4B19-C69D-6BAF-24784E179008}"/>
              </a:ext>
            </a:extLst>
          </p:cNvPr>
          <p:cNvSpPr txBox="1"/>
          <p:nvPr/>
        </p:nvSpPr>
        <p:spPr>
          <a:xfrm>
            <a:off x="1876050" y="2070180"/>
            <a:ext cx="37625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e ovrerview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8" name="-- Logo">
            <a:extLst>
              <a:ext uri="{FF2B5EF4-FFF2-40B4-BE49-F238E27FC236}">
                <a16:creationId xmlns:a16="http://schemas.microsoft.com/office/drawing/2014/main" id="{EFF0E048-DF31-F0B3-E09A-D283E3BA6C99}"/>
              </a:ext>
            </a:extLst>
          </p:cNvPr>
          <p:cNvGrpSpPr/>
          <p:nvPr/>
        </p:nvGrpSpPr>
        <p:grpSpPr>
          <a:xfrm>
            <a:off x="1299591" y="5823350"/>
            <a:ext cx="2018535" cy="523220"/>
            <a:chOff x="1037784" y="5790455"/>
            <a:chExt cx="2274168" cy="58948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A4F546A-F072-A9F3-946A-21D44491577A}"/>
                </a:ext>
              </a:extLst>
            </p:cNvPr>
            <p:cNvGrpSpPr/>
            <p:nvPr/>
          </p:nvGrpSpPr>
          <p:grpSpPr>
            <a:xfrm>
              <a:off x="1037784" y="5897948"/>
              <a:ext cx="384186" cy="417890"/>
              <a:chOff x="485694" y="5936930"/>
              <a:chExt cx="3025901" cy="3291364"/>
            </a:xfrm>
            <a:solidFill>
              <a:schemeClr val="bg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3F44A36-39FE-7CD8-2E17-4A6B64E28093}"/>
                  </a:ext>
                </a:extLst>
              </p:cNvPr>
              <p:cNvSpPr/>
              <p:nvPr/>
            </p:nvSpPr>
            <p:spPr>
              <a:xfrm>
                <a:off x="490170" y="5936930"/>
                <a:ext cx="2409920" cy="1064847"/>
              </a:xfrm>
              <a:custGeom>
                <a:avLst/>
                <a:gdLst>
                  <a:gd name="connsiteX0" fmla="*/ 265367 w 2409920"/>
                  <a:gd name="connsiteY0" fmla="*/ 993696 h 1064847"/>
                  <a:gd name="connsiteX1" fmla="*/ 290608 w 2409920"/>
                  <a:gd name="connsiteY1" fmla="*/ 942546 h 1064847"/>
                  <a:gd name="connsiteX2" fmla="*/ 429578 w 2409920"/>
                  <a:gd name="connsiteY2" fmla="*/ 797957 h 1064847"/>
                  <a:gd name="connsiteX3" fmla="*/ 1313783 w 2409920"/>
                  <a:gd name="connsiteY3" fmla="*/ 287512 h 1064847"/>
                  <a:gd name="connsiteX4" fmla="*/ 1703260 w 2409920"/>
                  <a:gd name="connsiteY4" fmla="*/ 287512 h 1064847"/>
                  <a:gd name="connsiteX5" fmla="*/ 2082927 w 2409920"/>
                  <a:gd name="connsiteY5" fmla="*/ 506682 h 1064847"/>
                  <a:gd name="connsiteX6" fmla="*/ 2409920 w 2409920"/>
                  <a:gd name="connsiteY6" fmla="*/ 419052 h 1064847"/>
                  <a:gd name="connsiteX7" fmla="*/ 1822990 w 2409920"/>
                  <a:gd name="connsiteY7" fmla="*/ 80153 h 1064847"/>
                  <a:gd name="connsiteX8" fmla="*/ 1194245 w 2409920"/>
                  <a:gd name="connsiteY8" fmla="*/ 80153 h 1064847"/>
                  <a:gd name="connsiteX9" fmla="*/ 309943 w 2409920"/>
                  <a:gd name="connsiteY9" fmla="*/ 590693 h 1064847"/>
                  <a:gd name="connsiteX10" fmla="*/ 83344 w 2409920"/>
                  <a:gd name="connsiteY10" fmla="*/ 822912 h 1064847"/>
                  <a:gd name="connsiteX11" fmla="*/ 0 w 2409920"/>
                  <a:gd name="connsiteY11" fmla="*/ 1064847 h 1064847"/>
                  <a:gd name="connsiteX12" fmla="*/ 265367 w 2409920"/>
                  <a:gd name="connsiteY12" fmla="*/ 993791 h 1064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09920" h="1064847">
                    <a:moveTo>
                      <a:pt x="265367" y="993696"/>
                    </a:moveTo>
                    <a:cubicBezTo>
                      <a:pt x="273463" y="974360"/>
                      <a:pt x="282321" y="957024"/>
                      <a:pt x="290608" y="942546"/>
                    </a:cubicBezTo>
                    <a:cubicBezTo>
                      <a:pt x="316040" y="898541"/>
                      <a:pt x="360807" y="837676"/>
                      <a:pt x="429578" y="797957"/>
                    </a:cubicBezTo>
                    <a:lnTo>
                      <a:pt x="1313783" y="287512"/>
                    </a:lnTo>
                    <a:cubicBezTo>
                      <a:pt x="1424845" y="223409"/>
                      <a:pt x="1592199" y="223409"/>
                      <a:pt x="1703260" y="287512"/>
                    </a:cubicBezTo>
                    <a:lnTo>
                      <a:pt x="2082927" y="506682"/>
                    </a:lnTo>
                    <a:lnTo>
                      <a:pt x="2409920" y="419052"/>
                    </a:lnTo>
                    <a:lnTo>
                      <a:pt x="1822990" y="80153"/>
                    </a:lnTo>
                    <a:cubicBezTo>
                      <a:pt x="1637919" y="-26718"/>
                      <a:pt x="1379315" y="-26718"/>
                      <a:pt x="1194245" y="80153"/>
                    </a:cubicBezTo>
                    <a:lnTo>
                      <a:pt x="309943" y="590693"/>
                    </a:lnTo>
                    <a:cubicBezTo>
                      <a:pt x="195263" y="656987"/>
                      <a:pt x="123444" y="753475"/>
                      <a:pt x="83344" y="822912"/>
                    </a:cubicBezTo>
                    <a:cubicBezTo>
                      <a:pt x="50578" y="879586"/>
                      <a:pt x="12763" y="963692"/>
                      <a:pt x="0" y="1064847"/>
                    </a:cubicBezTo>
                    <a:lnTo>
                      <a:pt x="265367" y="9937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41BC7C4-24F1-8726-FA22-7A76606FDDE7}"/>
                  </a:ext>
                </a:extLst>
              </p:cNvPr>
              <p:cNvSpPr/>
              <p:nvPr/>
            </p:nvSpPr>
            <p:spPr>
              <a:xfrm>
                <a:off x="485694" y="7173037"/>
                <a:ext cx="3025901" cy="1266824"/>
              </a:xfrm>
              <a:custGeom>
                <a:avLst/>
                <a:gdLst>
                  <a:gd name="connsiteX0" fmla="*/ 360617 w 3025901"/>
                  <a:gd name="connsiteY0" fmla="*/ 1199388 h 1266824"/>
                  <a:gd name="connsiteX1" fmla="*/ 245745 w 3025901"/>
                  <a:gd name="connsiteY1" fmla="*/ 982694 h 1266824"/>
                  <a:gd name="connsiteX2" fmla="*/ 2786539 w 3025901"/>
                  <a:gd name="connsiteY2" fmla="*/ 301942 h 1266824"/>
                  <a:gd name="connsiteX3" fmla="*/ 2786539 w 3025901"/>
                  <a:gd name="connsiteY3" fmla="*/ 549402 h 1266824"/>
                  <a:gd name="connsiteX4" fmla="*/ 3025902 w 3025901"/>
                  <a:gd name="connsiteY4" fmla="*/ 485299 h 1266824"/>
                  <a:gd name="connsiteX5" fmla="*/ 3025902 w 3025901"/>
                  <a:gd name="connsiteY5" fmla="*/ 0 h 1266824"/>
                  <a:gd name="connsiteX6" fmla="*/ 0 w 3025901"/>
                  <a:gd name="connsiteY6" fmla="*/ 810768 h 1266824"/>
                  <a:gd name="connsiteX7" fmla="*/ 0 w 3025901"/>
                  <a:gd name="connsiteY7" fmla="*/ 920115 h 1266824"/>
                  <a:gd name="connsiteX8" fmla="*/ 108966 w 3025901"/>
                  <a:gd name="connsiteY8" fmla="*/ 1266825 h 1266824"/>
                  <a:gd name="connsiteX9" fmla="*/ 360617 w 3025901"/>
                  <a:gd name="connsiteY9" fmla="*/ 1199388 h 126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25901" h="1266824">
                    <a:moveTo>
                      <a:pt x="360617" y="1199388"/>
                    </a:moveTo>
                    <a:cubicBezTo>
                      <a:pt x="303467" y="1141000"/>
                      <a:pt x="261080" y="1061656"/>
                      <a:pt x="245745" y="982694"/>
                    </a:cubicBezTo>
                    <a:lnTo>
                      <a:pt x="2786539" y="301942"/>
                    </a:lnTo>
                    <a:lnTo>
                      <a:pt x="2786539" y="549402"/>
                    </a:lnTo>
                    <a:lnTo>
                      <a:pt x="3025902" y="485299"/>
                    </a:lnTo>
                    <a:lnTo>
                      <a:pt x="3025902" y="0"/>
                    </a:lnTo>
                    <a:lnTo>
                      <a:pt x="0" y="810768"/>
                    </a:lnTo>
                    <a:lnTo>
                      <a:pt x="0" y="920115"/>
                    </a:lnTo>
                    <a:cubicBezTo>
                      <a:pt x="0" y="1039939"/>
                      <a:pt x="40672" y="1163002"/>
                      <a:pt x="108966" y="1266825"/>
                    </a:cubicBezTo>
                    <a:lnTo>
                      <a:pt x="360617" y="11993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3BEA11C-8E09-B35C-A440-3892584F47B8}"/>
                  </a:ext>
                </a:extLst>
              </p:cNvPr>
              <p:cNvSpPr/>
              <p:nvPr/>
            </p:nvSpPr>
            <p:spPr>
              <a:xfrm>
                <a:off x="485694" y="6525241"/>
                <a:ext cx="3007518" cy="1210818"/>
              </a:xfrm>
              <a:custGeom>
                <a:avLst/>
                <a:gdLst>
                  <a:gd name="connsiteX0" fmla="*/ 0 w 3007518"/>
                  <a:gd name="connsiteY0" fmla="*/ 725519 h 1210818"/>
                  <a:gd name="connsiteX1" fmla="*/ 0 w 3007518"/>
                  <a:gd name="connsiteY1" fmla="*/ 1210818 h 1210818"/>
                  <a:gd name="connsiteX2" fmla="*/ 239363 w 3007518"/>
                  <a:gd name="connsiteY2" fmla="*/ 1146715 h 1210818"/>
                  <a:gd name="connsiteX3" fmla="*/ 239363 w 3007518"/>
                  <a:gd name="connsiteY3" fmla="*/ 899255 h 1210818"/>
                  <a:gd name="connsiteX4" fmla="*/ 2650522 w 3007518"/>
                  <a:gd name="connsiteY4" fmla="*/ 253174 h 1210818"/>
                  <a:gd name="connsiteX5" fmla="*/ 2776538 w 3007518"/>
                  <a:gd name="connsiteY5" fmla="*/ 466820 h 1210818"/>
                  <a:gd name="connsiteX6" fmla="*/ 3007519 w 3007518"/>
                  <a:gd name="connsiteY6" fmla="*/ 404908 h 1210818"/>
                  <a:gd name="connsiteX7" fmla="*/ 2711672 w 3007518"/>
                  <a:gd name="connsiteY7" fmla="*/ 2381 h 1210818"/>
                  <a:gd name="connsiteX8" fmla="*/ 2707577 w 3007518"/>
                  <a:gd name="connsiteY8" fmla="*/ 0 h 1210818"/>
                  <a:gd name="connsiteX9" fmla="*/ 0 w 3007518"/>
                  <a:gd name="connsiteY9" fmla="*/ 725519 h 12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07518" h="1210818">
                    <a:moveTo>
                      <a:pt x="0" y="725519"/>
                    </a:moveTo>
                    <a:lnTo>
                      <a:pt x="0" y="1210818"/>
                    </a:lnTo>
                    <a:lnTo>
                      <a:pt x="239363" y="1146715"/>
                    </a:lnTo>
                    <a:lnTo>
                      <a:pt x="239363" y="899255"/>
                    </a:lnTo>
                    <a:lnTo>
                      <a:pt x="2650522" y="253174"/>
                    </a:lnTo>
                    <a:cubicBezTo>
                      <a:pt x="2710720" y="308515"/>
                      <a:pt x="2757011" y="387096"/>
                      <a:pt x="2776538" y="466820"/>
                    </a:cubicBezTo>
                    <a:lnTo>
                      <a:pt x="3007519" y="404908"/>
                    </a:lnTo>
                    <a:cubicBezTo>
                      <a:pt x="2965704" y="239840"/>
                      <a:pt x="2855786" y="85630"/>
                      <a:pt x="2711672" y="2381"/>
                    </a:cubicBezTo>
                    <a:lnTo>
                      <a:pt x="2707577" y="0"/>
                    </a:lnTo>
                    <a:lnTo>
                      <a:pt x="0" y="7255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2221F81-4E7E-FE23-288E-A46F9BFABBB9}"/>
                  </a:ext>
                </a:extLst>
              </p:cNvPr>
              <p:cNvSpPr/>
              <p:nvPr/>
            </p:nvSpPr>
            <p:spPr>
              <a:xfrm>
                <a:off x="794399" y="7905986"/>
                <a:ext cx="2717196" cy="1322308"/>
              </a:xfrm>
              <a:custGeom>
                <a:avLst/>
                <a:gdLst>
                  <a:gd name="connsiteX0" fmla="*/ 0 w 2717196"/>
                  <a:gd name="connsiteY0" fmla="*/ 728091 h 1322308"/>
                  <a:gd name="connsiteX1" fmla="*/ 5715 w 2717196"/>
                  <a:gd name="connsiteY1" fmla="*/ 731711 h 1322308"/>
                  <a:gd name="connsiteX2" fmla="*/ 889921 w 2717196"/>
                  <a:gd name="connsiteY2" fmla="*/ 1242155 h 1322308"/>
                  <a:gd name="connsiteX3" fmla="*/ 1518666 w 2717196"/>
                  <a:gd name="connsiteY3" fmla="*/ 1242155 h 1322308"/>
                  <a:gd name="connsiteX4" fmla="*/ 2402872 w 2717196"/>
                  <a:gd name="connsiteY4" fmla="*/ 731615 h 1322308"/>
                  <a:gd name="connsiteX5" fmla="*/ 2629472 w 2717196"/>
                  <a:gd name="connsiteY5" fmla="*/ 499396 h 1322308"/>
                  <a:gd name="connsiteX6" fmla="*/ 2717197 w 2717196"/>
                  <a:gd name="connsiteY6" fmla="*/ 187071 h 1322308"/>
                  <a:gd name="connsiteX7" fmla="*/ 2717197 w 2717196"/>
                  <a:gd name="connsiteY7" fmla="*/ 0 h 1322308"/>
                  <a:gd name="connsiteX8" fmla="*/ 0 w 2717196"/>
                  <a:gd name="connsiteY8" fmla="*/ 728091 h 1322308"/>
                  <a:gd name="connsiteX9" fmla="*/ 2422208 w 2717196"/>
                  <a:gd name="connsiteY9" fmla="*/ 379762 h 1322308"/>
                  <a:gd name="connsiteX10" fmla="*/ 2283142 w 2717196"/>
                  <a:gd name="connsiteY10" fmla="*/ 524351 h 1322308"/>
                  <a:gd name="connsiteX11" fmla="*/ 1399032 w 2717196"/>
                  <a:gd name="connsiteY11" fmla="*/ 1034796 h 1322308"/>
                  <a:gd name="connsiteX12" fmla="*/ 1009555 w 2717196"/>
                  <a:gd name="connsiteY12" fmla="*/ 1034796 h 1322308"/>
                  <a:gd name="connsiteX13" fmla="*/ 607981 w 2717196"/>
                  <a:gd name="connsiteY13" fmla="*/ 802957 h 1322308"/>
                  <a:gd name="connsiteX14" fmla="*/ 2455545 w 2717196"/>
                  <a:gd name="connsiteY14" fmla="*/ 307943 h 1322308"/>
                  <a:gd name="connsiteX15" fmla="*/ 2422303 w 2717196"/>
                  <a:gd name="connsiteY15" fmla="*/ 379762 h 132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7196" h="1322308">
                    <a:moveTo>
                      <a:pt x="0" y="728091"/>
                    </a:moveTo>
                    <a:cubicBezTo>
                      <a:pt x="1905" y="729234"/>
                      <a:pt x="3715" y="730568"/>
                      <a:pt x="5715" y="731711"/>
                    </a:cubicBezTo>
                    <a:lnTo>
                      <a:pt x="889921" y="1242155"/>
                    </a:lnTo>
                    <a:cubicBezTo>
                      <a:pt x="1074992" y="1349026"/>
                      <a:pt x="1333595" y="1349026"/>
                      <a:pt x="1518666" y="1242155"/>
                    </a:cubicBezTo>
                    <a:lnTo>
                      <a:pt x="2402872" y="731615"/>
                    </a:lnTo>
                    <a:cubicBezTo>
                      <a:pt x="2517553" y="665416"/>
                      <a:pt x="2589467" y="568738"/>
                      <a:pt x="2629472" y="499396"/>
                    </a:cubicBezTo>
                    <a:cubicBezTo>
                      <a:pt x="2669477" y="430054"/>
                      <a:pt x="2717197" y="319564"/>
                      <a:pt x="2717197" y="187071"/>
                    </a:cubicBezTo>
                    <a:lnTo>
                      <a:pt x="2717197" y="0"/>
                    </a:lnTo>
                    <a:cubicBezTo>
                      <a:pt x="2717197" y="0"/>
                      <a:pt x="0" y="728091"/>
                      <a:pt x="0" y="728091"/>
                    </a:cubicBezTo>
                    <a:close/>
                    <a:moveTo>
                      <a:pt x="2422208" y="379762"/>
                    </a:moveTo>
                    <a:cubicBezTo>
                      <a:pt x="2396776" y="423767"/>
                      <a:pt x="2352008" y="484632"/>
                      <a:pt x="2283142" y="524351"/>
                    </a:cubicBezTo>
                    <a:lnTo>
                      <a:pt x="1399032" y="1034796"/>
                    </a:lnTo>
                    <a:cubicBezTo>
                      <a:pt x="1287971" y="1098899"/>
                      <a:pt x="1120616" y="1098899"/>
                      <a:pt x="1009555" y="1034796"/>
                    </a:cubicBezTo>
                    <a:lnTo>
                      <a:pt x="607981" y="802957"/>
                    </a:lnTo>
                    <a:lnTo>
                      <a:pt x="2455545" y="307943"/>
                    </a:lnTo>
                    <a:cubicBezTo>
                      <a:pt x="2445449" y="335851"/>
                      <a:pt x="2433447" y="360331"/>
                      <a:pt x="2422303" y="3797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E8CDAC9-2590-43C7-750F-E45D25610102}"/>
                </a:ext>
              </a:extLst>
            </p:cNvPr>
            <p:cNvSpPr txBox="1"/>
            <p:nvPr/>
          </p:nvSpPr>
          <p:spPr>
            <a:xfrm>
              <a:off x="1485496" y="5790455"/>
              <a:ext cx="1826456" cy="589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 Light" panose="020B03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x</a:t>
              </a: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" panose="020B05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ll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6" name="-- Name">
            <a:extLst>
              <a:ext uri="{FF2B5EF4-FFF2-40B4-BE49-F238E27FC236}">
                <a16:creationId xmlns:a16="http://schemas.microsoft.com/office/drawing/2014/main" id="{36A002C1-B144-7CEA-BEB0-716EE1F4CCFA}"/>
              </a:ext>
            </a:extLst>
          </p:cNvPr>
          <p:cNvSpPr txBox="1"/>
          <p:nvPr/>
        </p:nvSpPr>
        <p:spPr>
          <a:xfrm>
            <a:off x="3903646" y="5823350"/>
            <a:ext cx="22381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rew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ch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-- Date">
            <a:extLst>
              <a:ext uri="{FF2B5EF4-FFF2-40B4-BE49-F238E27FC236}">
                <a16:creationId xmlns:a16="http://schemas.microsoft.com/office/drawing/2014/main" id="{5B42DB5B-EA18-8BB9-9AE5-E5CED84CFFDB}"/>
              </a:ext>
            </a:extLst>
          </p:cNvPr>
          <p:cNvSpPr txBox="1"/>
          <p:nvPr/>
        </p:nvSpPr>
        <p:spPr>
          <a:xfrm>
            <a:off x="6780615" y="5857161"/>
            <a:ext cx="15536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n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50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6" name="Phone">
            <a:extLst>
              <a:ext uri="{FF2B5EF4-FFF2-40B4-BE49-F238E27FC236}">
                <a16:creationId xmlns:a16="http://schemas.microsoft.com/office/drawing/2014/main" id="{3B64A2FF-7670-784E-D0ED-397A23C506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5" r="5075"/>
          <a:stretch/>
        </p:blipFill>
        <p:spPr>
          <a:xfrm>
            <a:off x="7923734" y="800727"/>
            <a:ext cx="3354498" cy="5238035"/>
          </a:xfrm>
          <a:prstGeom prst="rect">
            <a:avLst/>
          </a:prstGeom>
        </p:spPr>
      </p:pic>
      <p:sp>
        <p:nvSpPr>
          <p:cNvPr id="24" name="!!L">
            <a:extLst>
              <a:ext uri="{FF2B5EF4-FFF2-40B4-BE49-F238E27FC236}">
                <a16:creationId xmlns:a16="http://schemas.microsoft.com/office/drawing/2014/main" id="{B806767E-6A23-A109-CDB0-813FE0661E98}"/>
              </a:ext>
            </a:extLst>
          </p:cNvPr>
          <p:cNvSpPr/>
          <p:nvPr/>
        </p:nvSpPr>
        <p:spPr>
          <a:xfrm>
            <a:off x="0" y="0"/>
            <a:ext cx="6526280" cy="6858000"/>
          </a:xfrm>
          <a:prstGeom prst="rect">
            <a:avLst/>
          </a:prstGeom>
          <a:solidFill>
            <a:srgbClr val="FDFD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!!R">
            <a:extLst>
              <a:ext uri="{FF2B5EF4-FFF2-40B4-BE49-F238E27FC236}">
                <a16:creationId xmlns:a16="http://schemas.microsoft.com/office/drawing/2014/main" id="{A7E3E923-53F5-F33F-DF53-660303E174AE}"/>
              </a:ext>
            </a:extLst>
          </p:cNvPr>
          <p:cNvSpPr/>
          <p:nvPr/>
        </p:nvSpPr>
        <p:spPr>
          <a:xfrm>
            <a:off x="5774696" y="0"/>
            <a:ext cx="6417303" cy="6858000"/>
          </a:xfrm>
          <a:prstGeom prst="rect">
            <a:avLst/>
          </a:prstGeom>
          <a:solidFill>
            <a:srgbClr val="FDFDF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EA0BB5-C3E8-66EA-A7C0-131C45EA8A7E}"/>
              </a:ext>
            </a:extLst>
          </p:cNvPr>
          <p:cNvSpPr txBox="1"/>
          <p:nvPr/>
        </p:nvSpPr>
        <p:spPr>
          <a:xfrm>
            <a:off x="4241446" y="7065205"/>
            <a:ext cx="4871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Keep in mind to overlap them in the middle 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85814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 advClick="0" advTm="0">
        <p159:morph option="byObject"/>
      </p:transition>
    </mc:Choice>
    <mc:Fallback xmlns="">
      <p:transition spd="med" advClick="0" advTm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D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6E1080-A9C3-06AE-6AB6-263273D342AD}"/>
              </a:ext>
            </a:extLst>
          </p:cNvPr>
          <p:cNvSpPr txBox="1"/>
          <p:nvPr/>
        </p:nvSpPr>
        <p:spPr>
          <a:xfrm>
            <a:off x="2406528" y="2644170"/>
            <a:ext cx="737894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4800" b="1" dirty="0">
                <a:solidFill>
                  <a:schemeClr val="accent1"/>
                </a:solidFill>
                <a:latin typeface="Ubuntu" panose="020B0504030602030204" pitchFamily="34" charset="0"/>
              </a:rPr>
              <a:t>HERE YOUR</a:t>
            </a:r>
          </a:p>
          <a:p>
            <a:pPr algn="ctr"/>
            <a:r>
              <a:rPr lang="pl-PL" sz="4800" b="1" dirty="0">
                <a:solidFill>
                  <a:schemeClr val="accent1"/>
                </a:solidFill>
                <a:latin typeface="Ubuntu" panose="020B0504030602030204" pitchFamily="34" charset="0"/>
              </a:rPr>
              <a:t>PRESENTATION STARTS</a:t>
            </a:r>
            <a:endParaRPr lang="en-US" sz="4800" b="1" dirty="0">
              <a:solidFill>
                <a:schemeClr val="accent1"/>
              </a:solidFill>
              <a:latin typeface="Ubuntu" panose="020B0504030602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463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hone">
            <a:extLst>
              <a:ext uri="{FF2B5EF4-FFF2-40B4-BE49-F238E27FC236}">
                <a16:creationId xmlns:a16="http://schemas.microsoft.com/office/drawing/2014/main" id="{E376B7DF-7207-3184-D25C-B660E40DE6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5" r="5075"/>
          <a:stretch/>
        </p:blipFill>
        <p:spPr>
          <a:xfrm>
            <a:off x="7923734" y="800727"/>
            <a:ext cx="3354498" cy="5238035"/>
          </a:xfrm>
          <a:prstGeom prst="rect">
            <a:avLst/>
          </a:prstGeom>
        </p:spPr>
      </p:pic>
      <p:grpSp>
        <p:nvGrpSpPr>
          <p:cNvPr id="3" name="-- Logo">
            <a:extLst>
              <a:ext uri="{FF2B5EF4-FFF2-40B4-BE49-F238E27FC236}">
                <a16:creationId xmlns:a16="http://schemas.microsoft.com/office/drawing/2014/main" id="{759A88B6-8910-28F7-9371-BEEBD39D5CDE}"/>
              </a:ext>
            </a:extLst>
          </p:cNvPr>
          <p:cNvGrpSpPr/>
          <p:nvPr/>
        </p:nvGrpSpPr>
        <p:grpSpPr>
          <a:xfrm>
            <a:off x="1299591" y="5823350"/>
            <a:ext cx="2018535" cy="523220"/>
            <a:chOff x="1037784" y="5790455"/>
            <a:chExt cx="2274168" cy="58948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96ACE04-9C04-0F59-D6DF-6368096BAA8E}"/>
                </a:ext>
              </a:extLst>
            </p:cNvPr>
            <p:cNvGrpSpPr/>
            <p:nvPr/>
          </p:nvGrpSpPr>
          <p:grpSpPr>
            <a:xfrm>
              <a:off x="1037784" y="5897948"/>
              <a:ext cx="384186" cy="417890"/>
              <a:chOff x="485694" y="5936930"/>
              <a:chExt cx="3025901" cy="3291364"/>
            </a:xfrm>
            <a:solidFill>
              <a:schemeClr val="bg1"/>
            </a:solidFill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C9E60AED-4C9D-19C1-B305-B9C22066811C}"/>
                  </a:ext>
                </a:extLst>
              </p:cNvPr>
              <p:cNvSpPr/>
              <p:nvPr/>
            </p:nvSpPr>
            <p:spPr>
              <a:xfrm>
                <a:off x="490170" y="5936930"/>
                <a:ext cx="2409920" cy="1064847"/>
              </a:xfrm>
              <a:custGeom>
                <a:avLst/>
                <a:gdLst>
                  <a:gd name="connsiteX0" fmla="*/ 265367 w 2409920"/>
                  <a:gd name="connsiteY0" fmla="*/ 993696 h 1064847"/>
                  <a:gd name="connsiteX1" fmla="*/ 290608 w 2409920"/>
                  <a:gd name="connsiteY1" fmla="*/ 942546 h 1064847"/>
                  <a:gd name="connsiteX2" fmla="*/ 429578 w 2409920"/>
                  <a:gd name="connsiteY2" fmla="*/ 797957 h 1064847"/>
                  <a:gd name="connsiteX3" fmla="*/ 1313783 w 2409920"/>
                  <a:gd name="connsiteY3" fmla="*/ 287512 h 1064847"/>
                  <a:gd name="connsiteX4" fmla="*/ 1703260 w 2409920"/>
                  <a:gd name="connsiteY4" fmla="*/ 287512 h 1064847"/>
                  <a:gd name="connsiteX5" fmla="*/ 2082927 w 2409920"/>
                  <a:gd name="connsiteY5" fmla="*/ 506682 h 1064847"/>
                  <a:gd name="connsiteX6" fmla="*/ 2409920 w 2409920"/>
                  <a:gd name="connsiteY6" fmla="*/ 419052 h 1064847"/>
                  <a:gd name="connsiteX7" fmla="*/ 1822990 w 2409920"/>
                  <a:gd name="connsiteY7" fmla="*/ 80153 h 1064847"/>
                  <a:gd name="connsiteX8" fmla="*/ 1194245 w 2409920"/>
                  <a:gd name="connsiteY8" fmla="*/ 80153 h 1064847"/>
                  <a:gd name="connsiteX9" fmla="*/ 309943 w 2409920"/>
                  <a:gd name="connsiteY9" fmla="*/ 590693 h 1064847"/>
                  <a:gd name="connsiteX10" fmla="*/ 83344 w 2409920"/>
                  <a:gd name="connsiteY10" fmla="*/ 822912 h 1064847"/>
                  <a:gd name="connsiteX11" fmla="*/ 0 w 2409920"/>
                  <a:gd name="connsiteY11" fmla="*/ 1064847 h 1064847"/>
                  <a:gd name="connsiteX12" fmla="*/ 265367 w 2409920"/>
                  <a:gd name="connsiteY12" fmla="*/ 993791 h 1064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09920" h="1064847">
                    <a:moveTo>
                      <a:pt x="265367" y="993696"/>
                    </a:moveTo>
                    <a:cubicBezTo>
                      <a:pt x="273463" y="974360"/>
                      <a:pt x="282321" y="957024"/>
                      <a:pt x="290608" y="942546"/>
                    </a:cubicBezTo>
                    <a:cubicBezTo>
                      <a:pt x="316040" y="898541"/>
                      <a:pt x="360807" y="837676"/>
                      <a:pt x="429578" y="797957"/>
                    </a:cubicBezTo>
                    <a:lnTo>
                      <a:pt x="1313783" y="287512"/>
                    </a:lnTo>
                    <a:cubicBezTo>
                      <a:pt x="1424845" y="223409"/>
                      <a:pt x="1592199" y="223409"/>
                      <a:pt x="1703260" y="287512"/>
                    </a:cubicBezTo>
                    <a:lnTo>
                      <a:pt x="2082927" y="506682"/>
                    </a:lnTo>
                    <a:lnTo>
                      <a:pt x="2409920" y="419052"/>
                    </a:lnTo>
                    <a:lnTo>
                      <a:pt x="1822990" y="80153"/>
                    </a:lnTo>
                    <a:cubicBezTo>
                      <a:pt x="1637919" y="-26718"/>
                      <a:pt x="1379315" y="-26718"/>
                      <a:pt x="1194245" y="80153"/>
                    </a:cubicBezTo>
                    <a:lnTo>
                      <a:pt x="309943" y="590693"/>
                    </a:lnTo>
                    <a:cubicBezTo>
                      <a:pt x="195263" y="656987"/>
                      <a:pt x="123444" y="753475"/>
                      <a:pt x="83344" y="822912"/>
                    </a:cubicBezTo>
                    <a:cubicBezTo>
                      <a:pt x="50578" y="879586"/>
                      <a:pt x="12763" y="963692"/>
                      <a:pt x="0" y="1064847"/>
                    </a:cubicBezTo>
                    <a:lnTo>
                      <a:pt x="265367" y="9937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0AC8BF37-25FB-BE14-07CB-69F5E692D5CA}"/>
                  </a:ext>
                </a:extLst>
              </p:cNvPr>
              <p:cNvSpPr/>
              <p:nvPr/>
            </p:nvSpPr>
            <p:spPr>
              <a:xfrm>
                <a:off x="485694" y="7173037"/>
                <a:ext cx="3025901" cy="1266824"/>
              </a:xfrm>
              <a:custGeom>
                <a:avLst/>
                <a:gdLst>
                  <a:gd name="connsiteX0" fmla="*/ 360617 w 3025901"/>
                  <a:gd name="connsiteY0" fmla="*/ 1199388 h 1266824"/>
                  <a:gd name="connsiteX1" fmla="*/ 245745 w 3025901"/>
                  <a:gd name="connsiteY1" fmla="*/ 982694 h 1266824"/>
                  <a:gd name="connsiteX2" fmla="*/ 2786539 w 3025901"/>
                  <a:gd name="connsiteY2" fmla="*/ 301942 h 1266824"/>
                  <a:gd name="connsiteX3" fmla="*/ 2786539 w 3025901"/>
                  <a:gd name="connsiteY3" fmla="*/ 549402 h 1266824"/>
                  <a:gd name="connsiteX4" fmla="*/ 3025902 w 3025901"/>
                  <a:gd name="connsiteY4" fmla="*/ 485299 h 1266824"/>
                  <a:gd name="connsiteX5" fmla="*/ 3025902 w 3025901"/>
                  <a:gd name="connsiteY5" fmla="*/ 0 h 1266824"/>
                  <a:gd name="connsiteX6" fmla="*/ 0 w 3025901"/>
                  <a:gd name="connsiteY6" fmla="*/ 810768 h 1266824"/>
                  <a:gd name="connsiteX7" fmla="*/ 0 w 3025901"/>
                  <a:gd name="connsiteY7" fmla="*/ 920115 h 1266824"/>
                  <a:gd name="connsiteX8" fmla="*/ 108966 w 3025901"/>
                  <a:gd name="connsiteY8" fmla="*/ 1266825 h 1266824"/>
                  <a:gd name="connsiteX9" fmla="*/ 360617 w 3025901"/>
                  <a:gd name="connsiteY9" fmla="*/ 1199388 h 1266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25901" h="1266824">
                    <a:moveTo>
                      <a:pt x="360617" y="1199388"/>
                    </a:moveTo>
                    <a:cubicBezTo>
                      <a:pt x="303467" y="1141000"/>
                      <a:pt x="261080" y="1061656"/>
                      <a:pt x="245745" y="982694"/>
                    </a:cubicBezTo>
                    <a:lnTo>
                      <a:pt x="2786539" y="301942"/>
                    </a:lnTo>
                    <a:lnTo>
                      <a:pt x="2786539" y="549402"/>
                    </a:lnTo>
                    <a:lnTo>
                      <a:pt x="3025902" y="485299"/>
                    </a:lnTo>
                    <a:lnTo>
                      <a:pt x="3025902" y="0"/>
                    </a:lnTo>
                    <a:lnTo>
                      <a:pt x="0" y="810768"/>
                    </a:lnTo>
                    <a:lnTo>
                      <a:pt x="0" y="920115"/>
                    </a:lnTo>
                    <a:cubicBezTo>
                      <a:pt x="0" y="1039939"/>
                      <a:pt x="40672" y="1163002"/>
                      <a:pt x="108966" y="1266825"/>
                    </a:cubicBezTo>
                    <a:lnTo>
                      <a:pt x="360617" y="11993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A35F30A8-7C41-853C-B33D-45D1B341D460}"/>
                  </a:ext>
                </a:extLst>
              </p:cNvPr>
              <p:cNvSpPr/>
              <p:nvPr/>
            </p:nvSpPr>
            <p:spPr>
              <a:xfrm>
                <a:off x="485694" y="6525241"/>
                <a:ext cx="3007518" cy="1210818"/>
              </a:xfrm>
              <a:custGeom>
                <a:avLst/>
                <a:gdLst>
                  <a:gd name="connsiteX0" fmla="*/ 0 w 3007518"/>
                  <a:gd name="connsiteY0" fmla="*/ 725519 h 1210818"/>
                  <a:gd name="connsiteX1" fmla="*/ 0 w 3007518"/>
                  <a:gd name="connsiteY1" fmla="*/ 1210818 h 1210818"/>
                  <a:gd name="connsiteX2" fmla="*/ 239363 w 3007518"/>
                  <a:gd name="connsiteY2" fmla="*/ 1146715 h 1210818"/>
                  <a:gd name="connsiteX3" fmla="*/ 239363 w 3007518"/>
                  <a:gd name="connsiteY3" fmla="*/ 899255 h 1210818"/>
                  <a:gd name="connsiteX4" fmla="*/ 2650522 w 3007518"/>
                  <a:gd name="connsiteY4" fmla="*/ 253174 h 1210818"/>
                  <a:gd name="connsiteX5" fmla="*/ 2776538 w 3007518"/>
                  <a:gd name="connsiteY5" fmla="*/ 466820 h 1210818"/>
                  <a:gd name="connsiteX6" fmla="*/ 3007519 w 3007518"/>
                  <a:gd name="connsiteY6" fmla="*/ 404908 h 1210818"/>
                  <a:gd name="connsiteX7" fmla="*/ 2711672 w 3007518"/>
                  <a:gd name="connsiteY7" fmla="*/ 2381 h 1210818"/>
                  <a:gd name="connsiteX8" fmla="*/ 2707577 w 3007518"/>
                  <a:gd name="connsiteY8" fmla="*/ 0 h 1210818"/>
                  <a:gd name="connsiteX9" fmla="*/ 0 w 3007518"/>
                  <a:gd name="connsiteY9" fmla="*/ 725519 h 12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07518" h="1210818">
                    <a:moveTo>
                      <a:pt x="0" y="725519"/>
                    </a:moveTo>
                    <a:lnTo>
                      <a:pt x="0" y="1210818"/>
                    </a:lnTo>
                    <a:lnTo>
                      <a:pt x="239363" y="1146715"/>
                    </a:lnTo>
                    <a:lnTo>
                      <a:pt x="239363" y="899255"/>
                    </a:lnTo>
                    <a:lnTo>
                      <a:pt x="2650522" y="253174"/>
                    </a:lnTo>
                    <a:cubicBezTo>
                      <a:pt x="2710720" y="308515"/>
                      <a:pt x="2757011" y="387096"/>
                      <a:pt x="2776538" y="466820"/>
                    </a:cubicBezTo>
                    <a:lnTo>
                      <a:pt x="3007519" y="404908"/>
                    </a:lnTo>
                    <a:cubicBezTo>
                      <a:pt x="2965704" y="239840"/>
                      <a:pt x="2855786" y="85630"/>
                      <a:pt x="2711672" y="2381"/>
                    </a:cubicBezTo>
                    <a:lnTo>
                      <a:pt x="2707577" y="0"/>
                    </a:lnTo>
                    <a:lnTo>
                      <a:pt x="0" y="7255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1BBAF48A-FF86-8C4B-433A-67451A42B2B3}"/>
                  </a:ext>
                </a:extLst>
              </p:cNvPr>
              <p:cNvSpPr/>
              <p:nvPr/>
            </p:nvSpPr>
            <p:spPr>
              <a:xfrm>
                <a:off x="794399" y="7905986"/>
                <a:ext cx="2717196" cy="1322308"/>
              </a:xfrm>
              <a:custGeom>
                <a:avLst/>
                <a:gdLst>
                  <a:gd name="connsiteX0" fmla="*/ 0 w 2717196"/>
                  <a:gd name="connsiteY0" fmla="*/ 728091 h 1322308"/>
                  <a:gd name="connsiteX1" fmla="*/ 5715 w 2717196"/>
                  <a:gd name="connsiteY1" fmla="*/ 731711 h 1322308"/>
                  <a:gd name="connsiteX2" fmla="*/ 889921 w 2717196"/>
                  <a:gd name="connsiteY2" fmla="*/ 1242155 h 1322308"/>
                  <a:gd name="connsiteX3" fmla="*/ 1518666 w 2717196"/>
                  <a:gd name="connsiteY3" fmla="*/ 1242155 h 1322308"/>
                  <a:gd name="connsiteX4" fmla="*/ 2402872 w 2717196"/>
                  <a:gd name="connsiteY4" fmla="*/ 731615 h 1322308"/>
                  <a:gd name="connsiteX5" fmla="*/ 2629472 w 2717196"/>
                  <a:gd name="connsiteY5" fmla="*/ 499396 h 1322308"/>
                  <a:gd name="connsiteX6" fmla="*/ 2717197 w 2717196"/>
                  <a:gd name="connsiteY6" fmla="*/ 187071 h 1322308"/>
                  <a:gd name="connsiteX7" fmla="*/ 2717197 w 2717196"/>
                  <a:gd name="connsiteY7" fmla="*/ 0 h 1322308"/>
                  <a:gd name="connsiteX8" fmla="*/ 0 w 2717196"/>
                  <a:gd name="connsiteY8" fmla="*/ 728091 h 1322308"/>
                  <a:gd name="connsiteX9" fmla="*/ 2422208 w 2717196"/>
                  <a:gd name="connsiteY9" fmla="*/ 379762 h 1322308"/>
                  <a:gd name="connsiteX10" fmla="*/ 2283142 w 2717196"/>
                  <a:gd name="connsiteY10" fmla="*/ 524351 h 1322308"/>
                  <a:gd name="connsiteX11" fmla="*/ 1399032 w 2717196"/>
                  <a:gd name="connsiteY11" fmla="*/ 1034796 h 1322308"/>
                  <a:gd name="connsiteX12" fmla="*/ 1009555 w 2717196"/>
                  <a:gd name="connsiteY12" fmla="*/ 1034796 h 1322308"/>
                  <a:gd name="connsiteX13" fmla="*/ 607981 w 2717196"/>
                  <a:gd name="connsiteY13" fmla="*/ 802957 h 1322308"/>
                  <a:gd name="connsiteX14" fmla="*/ 2455545 w 2717196"/>
                  <a:gd name="connsiteY14" fmla="*/ 307943 h 1322308"/>
                  <a:gd name="connsiteX15" fmla="*/ 2422303 w 2717196"/>
                  <a:gd name="connsiteY15" fmla="*/ 379762 h 132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7196" h="1322308">
                    <a:moveTo>
                      <a:pt x="0" y="728091"/>
                    </a:moveTo>
                    <a:cubicBezTo>
                      <a:pt x="1905" y="729234"/>
                      <a:pt x="3715" y="730568"/>
                      <a:pt x="5715" y="731711"/>
                    </a:cubicBezTo>
                    <a:lnTo>
                      <a:pt x="889921" y="1242155"/>
                    </a:lnTo>
                    <a:cubicBezTo>
                      <a:pt x="1074992" y="1349026"/>
                      <a:pt x="1333595" y="1349026"/>
                      <a:pt x="1518666" y="1242155"/>
                    </a:cubicBezTo>
                    <a:lnTo>
                      <a:pt x="2402872" y="731615"/>
                    </a:lnTo>
                    <a:cubicBezTo>
                      <a:pt x="2517553" y="665416"/>
                      <a:pt x="2589467" y="568738"/>
                      <a:pt x="2629472" y="499396"/>
                    </a:cubicBezTo>
                    <a:cubicBezTo>
                      <a:pt x="2669477" y="430054"/>
                      <a:pt x="2717197" y="319564"/>
                      <a:pt x="2717197" y="187071"/>
                    </a:cubicBezTo>
                    <a:lnTo>
                      <a:pt x="2717197" y="0"/>
                    </a:lnTo>
                    <a:cubicBezTo>
                      <a:pt x="2717197" y="0"/>
                      <a:pt x="0" y="728091"/>
                      <a:pt x="0" y="728091"/>
                    </a:cubicBezTo>
                    <a:close/>
                    <a:moveTo>
                      <a:pt x="2422208" y="379762"/>
                    </a:moveTo>
                    <a:cubicBezTo>
                      <a:pt x="2396776" y="423767"/>
                      <a:pt x="2352008" y="484632"/>
                      <a:pt x="2283142" y="524351"/>
                    </a:cubicBezTo>
                    <a:lnTo>
                      <a:pt x="1399032" y="1034796"/>
                    </a:lnTo>
                    <a:cubicBezTo>
                      <a:pt x="1287971" y="1098899"/>
                      <a:pt x="1120616" y="1098899"/>
                      <a:pt x="1009555" y="1034796"/>
                    </a:cubicBezTo>
                    <a:lnTo>
                      <a:pt x="607981" y="802957"/>
                    </a:lnTo>
                    <a:lnTo>
                      <a:pt x="2455545" y="307943"/>
                    </a:lnTo>
                    <a:cubicBezTo>
                      <a:pt x="2445449" y="335851"/>
                      <a:pt x="2433447" y="360331"/>
                      <a:pt x="2422303" y="37976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aleway"/>
                  <a:ea typeface="+mn-ea"/>
                  <a:cs typeface="+mn-cs"/>
                </a:endParaRPr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6BF52A8-B083-F9A1-46E7-28FEE3E12EF6}"/>
                </a:ext>
              </a:extLst>
            </p:cNvPr>
            <p:cNvSpPr txBox="1"/>
            <p:nvPr/>
          </p:nvSpPr>
          <p:spPr>
            <a:xfrm>
              <a:off x="1485496" y="5790455"/>
              <a:ext cx="1826456" cy="589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 Light" panose="020B03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x</a:t>
              </a:r>
              <a:r>
                <a:rPr kumimoji="0" lang="pl-PL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B08FE1"/>
                  </a:solidFill>
                  <a:effectLst/>
                  <a:uLnTx/>
                  <a:uFillTx/>
                  <a:latin typeface="Ubuntu" panose="020B0504030602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ll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10" name="BG Dots">
            <a:extLst>
              <a:ext uri="{FF2B5EF4-FFF2-40B4-BE49-F238E27FC236}">
                <a16:creationId xmlns:a16="http://schemas.microsoft.com/office/drawing/2014/main" id="{4B02FA8B-E8BE-D726-95B0-824290CFA0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3553" y="140906"/>
            <a:ext cx="5444874" cy="2636886"/>
          </a:xfrm>
          <a:prstGeom prst="rect">
            <a:avLst/>
          </a:prstGeom>
        </p:spPr>
      </p:pic>
      <p:sp>
        <p:nvSpPr>
          <p:cNvPr id="11" name="BG Gradient">
            <a:extLst>
              <a:ext uri="{FF2B5EF4-FFF2-40B4-BE49-F238E27FC236}">
                <a16:creationId xmlns:a16="http://schemas.microsoft.com/office/drawing/2014/main" id="{5B61E9AE-A116-C0DA-454F-094B26201396}"/>
              </a:ext>
            </a:extLst>
          </p:cNvPr>
          <p:cNvSpPr/>
          <p:nvPr/>
        </p:nvSpPr>
        <p:spPr>
          <a:xfrm>
            <a:off x="3930314" y="1946916"/>
            <a:ext cx="5444874" cy="2342286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77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// Sub">
            <a:extLst>
              <a:ext uri="{FF2B5EF4-FFF2-40B4-BE49-F238E27FC236}">
                <a16:creationId xmlns:a16="http://schemas.microsoft.com/office/drawing/2014/main" id="{8C51CE51-328C-000B-906C-2C757EA34CDD}"/>
              </a:ext>
            </a:extLst>
          </p:cNvPr>
          <p:cNvSpPr txBox="1"/>
          <p:nvPr/>
        </p:nvSpPr>
        <p:spPr>
          <a:xfrm>
            <a:off x="1114430" y="3873498"/>
            <a:ext cx="3776996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6000" b="1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rter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6000" b="1" dirty="0">
                <a:solidFill>
                  <a:srgbClr val="B08FE1"/>
                </a:solidFill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// T1">
            <a:extLst>
              <a:ext uri="{FF2B5EF4-FFF2-40B4-BE49-F238E27FC236}">
                <a16:creationId xmlns:a16="http://schemas.microsoft.com/office/drawing/2014/main" id="{93903EB4-25BA-A057-306E-381747CE5AB1}"/>
              </a:ext>
            </a:extLst>
          </p:cNvPr>
          <p:cNvSpPr txBox="1"/>
          <p:nvPr/>
        </p:nvSpPr>
        <p:spPr>
          <a:xfrm>
            <a:off x="1114430" y="3458325"/>
            <a:ext cx="37625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e ovrerview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-- Name">
            <a:extLst>
              <a:ext uri="{FF2B5EF4-FFF2-40B4-BE49-F238E27FC236}">
                <a16:creationId xmlns:a16="http://schemas.microsoft.com/office/drawing/2014/main" id="{9E6F5B3E-8395-30B0-4567-DE72A0E9FFCF}"/>
              </a:ext>
            </a:extLst>
          </p:cNvPr>
          <p:cNvSpPr txBox="1"/>
          <p:nvPr/>
        </p:nvSpPr>
        <p:spPr>
          <a:xfrm>
            <a:off x="3930314" y="5823350"/>
            <a:ext cx="22381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rew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ch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-- Date">
            <a:extLst>
              <a:ext uri="{FF2B5EF4-FFF2-40B4-BE49-F238E27FC236}">
                <a16:creationId xmlns:a16="http://schemas.microsoft.com/office/drawing/2014/main" id="{F035100E-F5E4-79B3-7317-A8190275A177}"/>
              </a:ext>
            </a:extLst>
          </p:cNvPr>
          <p:cNvSpPr txBox="1"/>
          <p:nvPr/>
        </p:nvSpPr>
        <p:spPr>
          <a:xfrm>
            <a:off x="6780615" y="5857161"/>
            <a:ext cx="15536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 Light" panose="020B03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n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B08FE1"/>
                </a:solidFill>
                <a:effectLst/>
                <a:uLnTx/>
                <a:uFillTx/>
                <a:latin typeface="Ubuntu" panose="020B05040306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50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B08FE1"/>
              </a:solidFill>
              <a:effectLst/>
              <a:uLnTx/>
              <a:uFillTx/>
              <a:latin typeface="Ubuntu" panose="020B05040306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415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Elite Purple - Ubuntu+Ubuntu Light">
  <a:themeElements>
    <a:clrScheme name="EliteColors - HexPhone #2">
      <a:dk1>
        <a:sysClr val="windowText" lastClr="000000"/>
      </a:dk1>
      <a:lt1>
        <a:sysClr val="window" lastClr="FFFFFF"/>
      </a:lt1>
      <a:dk2>
        <a:srgbClr val="44546A"/>
      </a:dk2>
      <a:lt2>
        <a:srgbClr val="FDFDF8"/>
      </a:lt2>
      <a:accent1>
        <a:srgbClr val="342C79"/>
      </a:accent1>
      <a:accent2>
        <a:srgbClr val="7575E7"/>
      </a:accent2>
      <a:accent3>
        <a:srgbClr val="6669D2"/>
      </a:accent3>
      <a:accent4>
        <a:srgbClr val="B08FE1"/>
      </a:accent4>
      <a:accent5>
        <a:srgbClr val="74B5E2"/>
      </a:accent5>
      <a:accent6>
        <a:srgbClr val="3AA0DE"/>
      </a:accent6>
      <a:hlink>
        <a:srgbClr val="0563C1"/>
      </a:hlink>
      <a:folHlink>
        <a:srgbClr val="994B78"/>
      </a:folHlink>
    </a:clrScheme>
    <a:fontScheme name="Ubuntu + Ubuntu Light">
      <a:majorFont>
        <a:latin typeface="Ubuntu"/>
        <a:ea typeface=""/>
        <a:cs typeface=""/>
      </a:majorFont>
      <a:minorFont>
        <a:latin typeface="Ubuntu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lite Purple - Ubuntu+Ubuntu Light" id="{97CCE383-23B8-4102-9376-F9A5DD979C72}" vid="{C1B84ED8-7F0C-4A71-86AD-0BE41AB445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B5B3183F-095A-4CD2-BAA1-1608A2AD99C2}"/>
</file>

<file path=customXml/itemProps2.xml><?xml version="1.0" encoding="utf-8"?>
<ds:datastoreItem xmlns:ds="http://schemas.openxmlformats.org/officeDocument/2006/customXml" ds:itemID="{39CE9A57-45FC-431B-8EC0-0743400E8C92}"/>
</file>

<file path=customXml/itemProps3.xml><?xml version="1.0" encoding="utf-8"?>
<ds:datastoreItem xmlns:ds="http://schemas.openxmlformats.org/officeDocument/2006/customXml" ds:itemID="{4A1A7246-B5E6-4C07-996E-416527FA7D55}"/>
</file>

<file path=docProps/app.xml><?xml version="1.0" encoding="utf-8"?>
<Properties xmlns="http://schemas.openxmlformats.org/officeDocument/2006/extended-properties" xmlns:vt="http://schemas.openxmlformats.org/officeDocument/2006/docPropsVTypes">
  <Template>Elite Purple - Ubuntu+Ubuntu Light</Template>
  <TotalTime>572</TotalTime>
  <Words>41</Words>
  <Application>Microsoft Office PowerPoint</Application>
  <PresentationFormat>Widescreen</PresentationFormat>
  <Paragraphs>27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Ubuntu Light</vt:lpstr>
      <vt:lpstr>Calibri</vt:lpstr>
      <vt:lpstr>Raleway</vt:lpstr>
      <vt:lpstr>Ubuntu</vt:lpstr>
      <vt:lpstr>Elite Purple - Ubuntu+Ubuntu Ligh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39</cp:revision>
  <dcterms:created xsi:type="dcterms:W3CDTF">2024-01-12T08:24:04Z</dcterms:created>
  <dcterms:modified xsi:type="dcterms:W3CDTF">2024-02-16T13:1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